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4"/>
  </p:sldMasterIdLst>
  <p:sldIdLst>
    <p:sldId id="263" r:id="rId5"/>
  </p:sldIdLst>
  <p:sldSz cx="9601200" cy="12801600" type="A3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2757"/>
    <a:srgbClr val="FE8173"/>
    <a:srgbClr val="CFBDAC"/>
    <a:srgbClr val="B2F4FE"/>
    <a:srgbClr val="6DE8FF"/>
    <a:srgbClr val="F6EDDB"/>
    <a:srgbClr val="CCCCCC"/>
    <a:srgbClr val="F7C46A"/>
    <a:srgbClr val="E6E6E6"/>
    <a:srgbClr val="3939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392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6.xml"/><Relationship Id="rId7" Type="http://schemas.openxmlformats.org/officeDocument/2006/relationships/image" Target="../media/image2.png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1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30.xml"/><Relationship Id="rId9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3.xml"/><Relationship Id="rId7" Type="http://schemas.openxmlformats.org/officeDocument/2006/relationships/image" Target="../media/image2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23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" hidden="1">
            <a:extLst>
              <a:ext uri="{FF2B5EF4-FFF2-40B4-BE49-F238E27FC236}">
                <a16:creationId xmlns:a16="http://schemas.microsoft.com/office/drawing/2014/main" id="{DFA335BC-388F-4829-90C0-A2497E62D4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kt 8" hidden="1">
                        <a:extLst>
                          <a:ext uri="{FF2B5EF4-FFF2-40B4-BE49-F238E27FC236}">
                            <a16:creationId xmlns:a16="http://schemas.microsoft.com/office/drawing/2014/main" id="{DFA335BC-388F-4829-90C0-A2497E62D43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61F7949C-DAD6-4B55-B4A5-3DB05C386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DB76615-FBF4-4AFD-8E77-A9F9D502534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A60297-0417-40F4-A654-6C58A0B3CBF1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53C13146-F1CA-4579-8743-9CF68192A1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681567"/>
            <a:ext cx="8281035" cy="13186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938"/>
            </a:lvl1pPr>
          </a:lstStyle>
          <a:p>
            <a:r>
              <a:rPr lang="nb-NO" sz="4253" b="1"/>
              <a:t>Innhold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338550FB-90D6-43DA-9DAE-C8E02BBC092C}"/>
              </a:ext>
            </a:extLst>
          </p:cNvPr>
          <p:cNvSpPr/>
          <p:nvPr/>
        </p:nvSpPr>
        <p:spPr>
          <a:xfrm rot="1003600">
            <a:off x="7065884" y="2313913"/>
            <a:ext cx="749022" cy="10487687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5" name="Frihåndsform: figur 14">
            <a:extLst>
              <a:ext uri="{FF2B5EF4-FFF2-40B4-BE49-F238E27FC236}">
                <a16:creationId xmlns:a16="http://schemas.microsoft.com/office/drawing/2014/main" id="{339B14AD-5A62-41B7-A86D-D891465812B4}"/>
              </a:ext>
            </a:extLst>
          </p:cNvPr>
          <p:cNvSpPr/>
          <p:nvPr/>
        </p:nvSpPr>
        <p:spPr>
          <a:xfrm rot="20593107">
            <a:off x="9080520" y="2352174"/>
            <a:ext cx="749023" cy="8287485"/>
          </a:xfrm>
          <a:custGeom>
            <a:avLst/>
            <a:gdLst>
              <a:gd name="connsiteX0" fmla="*/ 951140 w 951140"/>
              <a:gd name="connsiteY0" fmla="*/ 0 h 4439724"/>
              <a:gd name="connsiteX1" fmla="*/ 951140 w 951140"/>
              <a:gd name="connsiteY1" fmla="*/ 1285728 h 4439724"/>
              <a:gd name="connsiteX2" fmla="*/ 1 w 951140"/>
              <a:gd name="connsiteY2" fmla="*/ 4439724 h 4439724"/>
              <a:gd name="connsiteX3" fmla="*/ 0 w 951140"/>
              <a:gd name="connsiteY3" fmla="*/ 0 h 4439724"/>
              <a:gd name="connsiteX4" fmla="*/ 951140 w 951140"/>
              <a:gd name="connsiteY4" fmla="*/ 0 h 4439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140" h="4439724">
                <a:moveTo>
                  <a:pt x="951140" y="0"/>
                </a:moveTo>
                <a:lnTo>
                  <a:pt x="951140" y="1285728"/>
                </a:lnTo>
                <a:lnTo>
                  <a:pt x="1" y="4439724"/>
                </a:lnTo>
                <a:lnTo>
                  <a:pt x="0" y="0"/>
                </a:lnTo>
                <a:lnTo>
                  <a:pt x="951140" y="0"/>
                </a:lnTo>
                <a:close/>
              </a:path>
            </a:pathLst>
          </a:cu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b-NO" sz="1418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1A2FDE79-0326-4D90-9914-B1E90B29E066}"/>
              </a:ext>
            </a:extLst>
          </p:cNvPr>
          <p:cNvSpPr/>
          <p:nvPr/>
        </p:nvSpPr>
        <p:spPr>
          <a:xfrm rot="16200000">
            <a:off x="7629777" y="2367051"/>
            <a:ext cx="1775459" cy="1586021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</p:spTree>
    <p:extLst>
      <p:ext uri="{BB962C8B-B14F-4D97-AF65-F5344CB8AC3E}">
        <p14:creationId xmlns:p14="http://schemas.microsoft.com/office/powerpoint/2010/main" val="2207882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djedel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2" hidden="1">
            <a:extLst>
              <a:ext uri="{FF2B5EF4-FFF2-40B4-BE49-F238E27FC236}">
                <a16:creationId xmlns:a16="http://schemas.microsoft.com/office/drawing/2014/main" id="{ED6A4C41-16F5-4ACA-B064-BBEEE8B633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kt 12" hidden="1">
                        <a:extLst>
                          <a:ext uri="{FF2B5EF4-FFF2-40B4-BE49-F238E27FC236}">
                            <a16:creationId xmlns:a16="http://schemas.microsoft.com/office/drawing/2014/main" id="{ED6A4C41-16F5-4ACA-B064-BBEEE8B633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2A1E91DD-AEA2-42E3-8DB1-FC6BC5321D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marL="0" lvl="0" indent="0" algn="ctr" eaLnBrk="1" fontAlgn="auto" hangingPunct="1">
              <a:lnSpc>
                <a:spcPct val="90000"/>
              </a:lnSpc>
              <a:defRPr/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723BB-E41A-4627-8AB8-77F205C91037}"/>
              </a:ext>
            </a:extLst>
          </p:cNvPr>
          <p:cNvSpPr/>
          <p:nvPr userDrawn="1"/>
        </p:nvSpPr>
        <p:spPr>
          <a:xfrm>
            <a:off x="0" y="12283019"/>
            <a:ext cx="9601200" cy="536362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pic>
        <p:nvPicPr>
          <p:cNvPr id="7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44444667-CD43-485E-8BAD-2266CA426F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427" y="12330431"/>
            <a:ext cx="188773" cy="542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6368C6F3-E658-47C7-84FA-E877C468E8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6" r="35265" b="1379"/>
          <a:stretch>
            <a:fillRect/>
          </a:stretch>
        </p:blipFill>
        <p:spPr bwMode="auto">
          <a:xfrm>
            <a:off x="8957370" y="12217824"/>
            <a:ext cx="225028" cy="628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ktangel 9" hidden="1">
            <a:extLst>
              <a:ext uri="{FF2B5EF4-FFF2-40B4-BE49-F238E27FC236}">
                <a16:creationId xmlns:a16="http://schemas.microsoft.com/office/drawing/2014/main" id="{B66A100B-6199-4A5D-9FD8-72753636DC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150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4" name="Plassholder for innhold 2">
            <a:extLst>
              <a:ext uri="{FF2B5EF4-FFF2-40B4-BE49-F238E27FC236}">
                <a16:creationId xmlns:a16="http://schemas.microsoft.com/office/drawing/2014/main" id="{DE5D53E9-79D4-42CA-B02E-EC0DCD4F96F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33068" y="681567"/>
            <a:ext cx="6170608" cy="111362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68C1CA82-2EB8-4C70-A80C-F42EEEE5DF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37CC03-23E7-47F9-98FF-AC0791C0D1FF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49C6824F-1B6F-4BD0-BB7A-E3B3D48C4133}"/>
              </a:ext>
            </a:extLst>
          </p:cNvPr>
          <p:cNvSpPr/>
          <p:nvPr userDrawn="1"/>
        </p:nvSpPr>
        <p:spPr>
          <a:xfrm>
            <a:off x="0" y="2"/>
            <a:ext cx="3118500" cy="12330431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8" name="Tittel 1">
            <a:extLst>
              <a:ext uri="{FF2B5EF4-FFF2-40B4-BE49-F238E27FC236}">
                <a16:creationId xmlns:a16="http://schemas.microsoft.com/office/drawing/2014/main" id="{5BC6467D-710E-450D-A9D0-E5CB3C8B7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567" y="681568"/>
            <a:ext cx="2940361" cy="125289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35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1415804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djede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2" hidden="1">
            <a:extLst>
              <a:ext uri="{FF2B5EF4-FFF2-40B4-BE49-F238E27FC236}">
                <a16:creationId xmlns:a16="http://schemas.microsoft.com/office/drawing/2014/main" id="{ED6A4C41-16F5-4ACA-B064-BBEEE8B633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kt 12" hidden="1">
                        <a:extLst>
                          <a:ext uri="{FF2B5EF4-FFF2-40B4-BE49-F238E27FC236}">
                            <a16:creationId xmlns:a16="http://schemas.microsoft.com/office/drawing/2014/main" id="{ED6A4C41-16F5-4ACA-B064-BBEEE8B633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2A1E91DD-AEA2-42E3-8DB1-FC6BC5321D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46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723BB-E41A-4627-8AB8-77F205C91037}"/>
              </a:ext>
            </a:extLst>
          </p:cNvPr>
          <p:cNvSpPr/>
          <p:nvPr userDrawn="1"/>
        </p:nvSpPr>
        <p:spPr>
          <a:xfrm>
            <a:off x="0" y="12283019"/>
            <a:ext cx="9601200" cy="536362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pic>
        <p:nvPicPr>
          <p:cNvPr id="7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44444667-CD43-485E-8BAD-2266CA426F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427" y="12330431"/>
            <a:ext cx="188773" cy="542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6368C6F3-E658-47C7-84FA-E877C468E8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6" r="35265" b="1379"/>
          <a:stretch>
            <a:fillRect/>
          </a:stretch>
        </p:blipFill>
        <p:spPr bwMode="auto">
          <a:xfrm>
            <a:off x="8957370" y="12217824"/>
            <a:ext cx="225028" cy="628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67770A7-D5B9-475F-87C2-ABE051A8CC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67770A7-D5B9-475F-87C2-ABE051A8CCB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 hidden="1">
            <a:extLst>
              <a:ext uri="{FF2B5EF4-FFF2-40B4-BE49-F238E27FC236}">
                <a16:creationId xmlns:a16="http://schemas.microsoft.com/office/drawing/2014/main" id="{B66A100B-6199-4A5D-9FD8-72753636DCB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150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4" name="Plassholder for innhold 2">
            <a:extLst>
              <a:ext uri="{FF2B5EF4-FFF2-40B4-BE49-F238E27FC236}">
                <a16:creationId xmlns:a16="http://schemas.microsoft.com/office/drawing/2014/main" id="{DE5D53E9-79D4-42CA-B02E-EC0DCD4F96F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33068" y="681567"/>
            <a:ext cx="6170608" cy="1113622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68C1CA82-2EB8-4C70-A80C-F42EEEE5DF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37CC03-23E7-47F9-98FF-AC0791C0D1FF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49C6824F-1B6F-4BD0-BB7A-E3B3D48C4133}"/>
              </a:ext>
            </a:extLst>
          </p:cNvPr>
          <p:cNvSpPr/>
          <p:nvPr userDrawn="1"/>
        </p:nvSpPr>
        <p:spPr>
          <a:xfrm>
            <a:off x="0" y="2"/>
            <a:ext cx="3118500" cy="12330431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8" name="Tittel 1">
            <a:extLst>
              <a:ext uri="{FF2B5EF4-FFF2-40B4-BE49-F238E27FC236}">
                <a16:creationId xmlns:a16="http://schemas.microsoft.com/office/drawing/2014/main" id="{5BC6467D-710E-450D-A9D0-E5CB3C8B7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567" y="681568"/>
            <a:ext cx="2940361" cy="12528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75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6674955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2" hidden="1">
            <a:extLst>
              <a:ext uri="{FF2B5EF4-FFF2-40B4-BE49-F238E27FC236}">
                <a16:creationId xmlns:a16="http://schemas.microsoft.com/office/drawing/2014/main" id="{ED6A4C41-16F5-4ACA-B064-BBEEE8B633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kt 12" hidden="1">
                        <a:extLst>
                          <a:ext uri="{FF2B5EF4-FFF2-40B4-BE49-F238E27FC236}">
                            <a16:creationId xmlns:a16="http://schemas.microsoft.com/office/drawing/2014/main" id="{ED6A4C41-16F5-4ACA-B064-BBEEE8B633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2A1E91DD-AEA2-42E3-8DB1-FC6BC5321D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marL="0" lvl="0" indent="0" algn="ctr" eaLnBrk="1" fontAlgn="auto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723BB-E41A-4627-8AB8-77F205C91037}"/>
              </a:ext>
            </a:extLst>
          </p:cNvPr>
          <p:cNvSpPr/>
          <p:nvPr userDrawn="1"/>
        </p:nvSpPr>
        <p:spPr>
          <a:xfrm>
            <a:off x="0" y="12283019"/>
            <a:ext cx="9601200" cy="536362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pic>
        <p:nvPicPr>
          <p:cNvPr id="7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44444667-CD43-485E-8BAD-2266CA426F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427" y="12330431"/>
            <a:ext cx="188773" cy="542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6368C6F3-E658-47C7-84FA-E877C468E8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6" r="35265" b="1379"/>
          <a:stretch>
            <a:fillRect/>
          </a:stretch>
        </p:blipFill>
        <p:spPr bwMode="auto">
          <a:xfrm>
            <a:off x="8957370" y="12217824"/>
            <a:ext cx="225028" cy="628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ktangel 9" hidden="1">
            <a:extLst>
              <a:ext uri="{FF2B5EF4-FFF2-40B4-BE49-F238E27FC236}">
                <a16:creationId xmlns:a16="http://schemas.microsoft.com/office/drawing/2014/main" id="{B66A100B-6199-4A5D-9FD8-72753636DCB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150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68C1CA82-2EB8-4C70-A80C-F42EEEE5DF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37CC03-23E7-47F9-98FF-AC0791C0D1FF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87D17EEA-734C-4E48-B6B2-795A51800ED5}"/>
              </a:ext>
            </a:extLst>
          </p:cNvPr>
          <p:cNvSpPr/>
          <p:nvPr userDrawn="1"/>
        </p:nvSpPr>
        <p:spPr>
          <a:xfrm>
            <a:off x="466363" y="0"/>
            <a:ext cx="2572388" cy="357851"/>
          </a:xfrm>
          <a:prstGeom prst="rect">
            <a:avLst/>
          </a:prstGeom>
          <a:solidFill>
            <a:srgbClr val="001D58"/>
          </a:solidFill>
          <a:ln>
            <a:solidFill>
              <a:schemeClr val="tx2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45"/>
          </a:p>
        </p:txBody>
      </p:sp>
      <p:sp>
        <p:nvSpPr>
          <p:cNvPr id="19" name="Rektangel 29">
            <a:extLst>
              <a:ext uri="{FF2B5EF4-FFF2-40B4-BE49-F238E27FC236}">
                <a16:creationId xmlns:a16="http://schemas.microsoft.com/office/drawing/2014/main" id="{C22AE087-16CA-4291-8EB4-E9A8935E01BA}"/>
              </a:ext>
            </a:extLst>
          </p:cNvPr>
          <p:cNvSpPr/>
          <p:nvPr userDrawn="1"/>
        </p:nvSpPr>
        <p:spPr>
          <a:xfrm>
            <a:off x="466363" y="379305"/>
            <a:ext cx="2572388" cy="11894400"/>
          </a:xfrm>
          <a:prstGeom prst="rect">
            <a:avLst/>
          </a:prstGeom>
          <a:solidFill>
            <a:srgbClr val="001D58">
              <a:alpha val="1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45"/>
          </a:p>
        </p:txBody>
      </p:sp>
      <p:cxnSp>
        <p:nvCxnSpPr>
          <p:cNvPr id="20" name="Rett linje 19">
            <a:extLst>
              <a:ext uri="{FF2B5EF4-FFF2-40B4-BE49-F238E27FC236}">
                <a16:creationId xmlns:a16="http://schemas.microsoft.com/office/drawing/2014/main" id="{CC48EADF-8FEB-4F0C-85B5-C62D345C7E09}"/>
              </a:ext>
            </a:extLst>
          </p:cNvPr>
          <p:cNvCxnSpPr/>
          <p:nvPr userDrawn="1"/>
        </p:nvCxnSpPr>
        <p:spPr>
          <a:xfrm flipH="1">
            <a:off x="465937" y="2160583"/>
            <a:ext cx="8673519" cy="0"/>
          </a:xfrm>
          <a:prstGeom prst="line">
            <a:avLst/>
          </a:prstGeom>
          <a:ln w="3175" cmpd="sng">
            <a:solidFill>
              <a:srgbClr val="001D5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Plassholder for tekst 10">
            <a:extLst>
              <a:ext uri="{FF2B5EF4-FFF2-40B4-BE49-F238E27FC236}">
                <a16:creationId xmlns:a16="http://schemas.microsoft.com/office/drawing/2014/main" id="{9CF54B00-7CC9-48CF-B1E3-4DF37A3B4A5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510795" y="2609770"/>
            <a:ext cx="5639902" cy="95576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83161" indent="-183161">
              <a:defRPr sz="1890"/>
            </a:lvl1pPr>
            <a:lvl2pPr marL="517156" indent="-175463">
              <a:defRPr sz="1575"/>
            </a:lvl2pPr>
            <a:lvl3pPr marL="868083" indent="-169307">
              <a:defRPr sz="1418"/>
            </a:lvl3pPr>
            <a:lvl4pPr marL="1222087" indent="-173926">
              <a:defRPr sz="1260"/>
            </a:lvl4pPr>
            <a:lvl5pPr marL="1560702" indent="-173926">
              <a:defRPr sz="126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22" name="Tittel 2">
            <a:extLst>
              <a:ext uri="{FF2B5EF4-FFF2-40B4-BE49-F238E27FC236}">
                <a16:creationId xmlns:a16="http://schemas.microsoft.com/office/drawing/2014/main" id="{61E77A82-1D43-467E-B030-D1F3A83739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0795" y="641587"/>
            <a:ext cx="5619899" cy="1384708"/>
          </a:xfrm>
          <a:prstGeom prst="rect">
            <a:avLst/>
          </a:prstGeom>
        </p:spPr>
        <p:txBody>
          <a:bodyPr/>
          <a:lstStyle>
            <a:lvl1pPr>
              <a:defRPr sz="2835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23" name="Plassholder for tekst 12">
            <a:extLst>
              <a:ext uri="{FF2B5EF4-FFF2-40B4-BE49-F238E27FC236}">
                <a16:creationId xmlns:a16="http://schemas.microsoft.com/office/drawing/2014/main" id="{E031339F-5F5B-43D2-9D04-BD07BAB91E0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37789" y="633864"/>
            <a:ext cx="2415492" cy="138470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696" indent="-7696">
              <a:spcBef>
                <a:spcPts val="0"/>
              </a:spcBef>
              <a:buNone/>
              <a:defRPr sz="1551">
                <a:latin typeface="+mj-lt"/>
              </a:defRPr>
            </a:lvl1pPr>
            <a:lvl2pPr marL="517156" indent="0">
              <a:buNone/>
              <a:defRPr sz="1551">
                <a:latin typeface="+mj-lt"/>
              </a:defRPr>
            </a:lvl2pPr>
            <a:lvl3pPr marL="781891" indent="0">
              <a:buNone/>
              <a:defRPr sz="1551">
                <a:latin typeface="+mj-lt"/>
              </a:defRPr>
            </a:lvl3pPr>
            <a:lvl4pPr marL="1123582" indent="0">
              <a:buNone/>
              <a:defRPr sz="1551">
                <a:latin typeface="+mj-lt"/>
              </a:defRPr>
            </a:lvl4pPr>
            <a:lvl5pPr marL="1486823" indent="0">
              <a:buNone/>
              <a:defRPr sz="1551">
                <a:latin typeface="+mj-lt"/>
              </a:defRPr>
            </a:lvl5pPr>
          </a:lstStyle>
          <a:p>
            <a:pPr lvl="0"/>
            <a:r>
              <a:rPr lang="nb-NO"/>
              <a:t>Klikk for å redigere kapitteloverskrift</a:t>
            </a:r>
          </a:p>
        </p:txBody>
      </p:sp>
      <p:sp>
        <p:nvSpPr>
          <p:cNvPr id="24" name="Plassholder for tekst 16">
            <a:extLst>
              <a:ext uri="{FF2B5EF4-FFF2-40B4-BE49-F238E27FC236}">
                <a16:creationId xmlns:a16="http://schemas.microsoft.com/office/drawing/2014/main" id="{002E2BD2-6CBB-40B1-8D8E-ADC31643645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37789" y="2307673"/>
            <a:ext cx="2415492" cy="30207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103" b="1">
                <a:latin typeface="+mn-lt"/>
              </a:defRPr>
            </a:lvl1pPr>
          </a:lstStyle>
          <a:p>
            <a:pPr lvl="0"/>
            <a:r>
              <a:rPr lang="nb-NO"/>
              <a:t>KLIKK FOR Å REDIGERE UNDERSKRIFT</a:t>
            </a:r>
          </a:p>
        </p:txBody>
      </p:sp>
    </p:spTree>
    <p:extLst>
      <p:ext uri="{BB962C8B-B14F-4D97-AF65-F5344CB8AC3E}">
        <p14:creationId xmlns:p14="http://schemas.microsoft.com/office/powerpoint/2010/main" val="4067811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vt bilde m/tekst,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19A33A6-DAF1-4D79-ACAA-42C07E0F5C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19A33A6-DAF1-4D79-ACAA-42C07E0F5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lassholder for bilde 6">
            <a:extLst>
              <a:ext uri="{FF2B5EF4-FFF2-40B4-BE49-F238E27FC236}">
                <a16:creationId xmlns:a16="http://schemas.microsoft.com/office/drawing/2014/main" id="{0339C185-FEA3-4CB1-B5B7-428CDB23AB4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57095" y="695608"/>
            <a:ext cx="4097354" cy="10837366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4" name="Plassholder for innhold 7">
            <a:extLst>
              <a:ext uri="{FF2B5EF4-FFF2-40B4-BE49-F238E27FC236}">
                <a16:creationId xmlns:a16="http://schemas.microsoft.com/office/drawing/2014/main" id="{CDD979B2-9679-48FF-8CA9-2A2BC6C9D3A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81286" y="2747011"/>
            <a:ext cx="4109336" cy="8785963"/>
          </a:xfrm>
        </p:spPr>
        <p:txBody>
          <a:bodyPr/>
          <a:lstStyle>
            <a:lvl1pPr>
              <a:defRPr sz="1890"/>
            </a:lvl1pPr>
            <a:lvl2pPr>
              <a:defRPr sz="1575"/>
            </a:lvl2pPr>
            <a:lvl3pPr>
              <a:defRPr sz="1418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tekst 15">
            <a:extLst>
              <a:ext uri="{FF2B5EF4-FFF2-40B4-BE49-F238E27FC236}">
                <a16:creationId xmlns:a16="http://schemas.microsoft.com/office/drawing/2014/main" id="{B47CAEB7-12D7-4C5F-83FD-8DB7FDAC3C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5083" y="954238"/>
            <a:ext cx="3979023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035F6ADB-5BF4-48EC-8943-AF1F965B9FFF}"/>
              </a:ext>
            </a:extLst>
          </p:cNvPr>
          <p:cNvSpPr/>
          <p:nvPr userDrawn="1"/>
        </p:nvSpPr>
        <p:spPr>
          <a:xfrm>
            <a:off x="660083" y="2012106"/>
            <a:ext cx="4039875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</p:spTree>
    <p:extLst>
      <p:ext uri="{BB962C8B-B14F-4D97-AF65-F5344CB8AC3E}">
        <p14:creationId xmlns:p14="http://schemas.microsoft.com/office/powerpoint/2010/main" val="41079601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vt bilde m/tekst,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19A33A6-DAF1-4D79-ACAA-42C07E0F5C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19A33A6-DAF1-4D79-ACAA-42C07E0F5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lassholder for bilde 6">
            <a:extLst>
              <a:ext uri="{FF2B5EF4-FFF2-40B4-BE49-F238E27FC236}">
                <a16:creationId xmlns:a16="http://schemas.microsoft.com/office/drawing/2014/main" id="{0339C185-FEA3-4CB1-B5B7-428CDB23AB4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1825" y="662392"/>
            <a:ext cx="4109336" cy="10837366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4" name="Plassholder for innhold 7">
            <a:extLst>
              <a:ext uri="{FF2B5EF4-FFF2-40B4-BE49-F238E27FC236}">
                <a16:creationId xmlns:a16="http://schemas.microsoft.com/office/drawing/2014/main" id="{CDD979B2-9679-48FF-8CA9-2A2BC6C9D3A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1243" y="2455165"/>
            <a:ext cx="4109336" cy="8785963"/>
          </a:xfrm>
        </p:spPr>
        <p:txBody>
          <a:bodyPr/>
          <a:lstStyle>
            <a:lvl1pPr>
              <a:defRPr sz="1890"/>
            </a:lvl1pPr>
            <a:lvl2pPr>
              <a:defRPr sz="1575"/>
            </a:lvl2pPr>
            <a:lvl3pPr>
              <a:defRPr sz="1418"/>
            </a:lvl3pPr>
            <a:lvl4pPr>
              <a:defRPr sz="1260"/>
            </a:lvl4pPr>
            <a:lvl5pPr>
              <a:defRPr sz="126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tekst 15">
            <a:extLst>
              <a:ext uri="{FF2B5EF4-FFF2-40B4-BE49-F238E27FC236}">
                <a16:creationId xmlns:a16="http://schemas.microsoft.com/office/drawing/2014/main" id="{B47CAEB7-12D7-4C5F-83FD-8DB7FDAC3C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985041" y="662392"/>
            <a:ext cx="3979023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035F6ADB-5BF4-48EC-8943-AF1F965B9FFF}"/>
              </a:ext>
            </a:extLst>
          </p:cNvPr>
          <p:cNvSpPr/>
          <p:nvPr userDrawn="1"/>
        </p:nvSpPr>
        <p:spPr>
          <a:xfrm>
            <a:off x="4980040" y="1720260"/>
            <a:ext cx="4039875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</p:spTree>
    <p:extLst>
      <p:ext uri="{BB962C8B-B14F-4D97-AF65-F5344CB8AC3E}">
        <p14:creationId xmlns:p14="http://schemas.microsoft.com/office/powerpoint/2010/main" val="38271684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vt bilde m/tekst, høyre, stor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5346DA28-C698-42A6-8818-C76F7DE68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32" y="1918971"/>
            <a:ext cx="4061757" cy="1537969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DC748606-12CF-49C7-9680-B7BE0AA221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8832" y="3456939"/>
            <a:ext cx="4061757" cy="866309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2545441-C841-4663-AE34-F0C10C6FEAB1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D30BA4C1-11DB-4347-A4A2-51E620AE2A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5" name="Plassholder for bilde 6">
            <a:extLst>
              <a:ext uri="{FF2B5EF4-FFF2-40B4-BE49-F238E27FC236}">
                <a16:creationId xmlns:a16="http://schemas.microsoft.com/office/drawing/2014/main" id="{004339B3-0785-48CF-9849-02E658F5C62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57095" y="2661121"/>
            <a:ext cx="4097354" cy="9085442"/>
          </a:xfrm>
        </p:spPr>
        <p:txBody>
          <a:bodyPr tIns="360000"/>
          <a:lstStyle>
            <a:lvl1pPr marL="0" indent="0" algn="ctr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2057758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v tekst u/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DC748606-12CF-49C7-9680-B7BE0AA221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8833" y="2225562"/>
            <a:ext cx="4141768" cy="989447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2545441-C841-4663-AE34-F0C10C6FEAB1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D30BA4C1-11DB-4347-A4A2-51E620AE2A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5300207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022A1DD2-BB9D-45B0-96B0-66DF094481A0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8" name="Tittel 1">
            <a:extLst>
              <a:ext uri="{FF2B5EF4-FFF2-40B4-BE49-F238E27FC236}">
                <a16:creationId xmlns:a16="http://schemas.microsoft.com/office/drawing/2014/main" id="{A13C59C1-5E5D-4D0B-BE18-A2FDDA70A13A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3749077" y="2307672"/>
            <a:ext cx="2085261" cy="2889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788">
                <a:solidFill>
                  <a:srgbClr val="000000"/>
                </a:solidFill>
                <a:cs typeface="Arial" pitchFamily="34" charset="0"/>
              </a:rPr>
              <a:t>PROFIL</a:t>
            </a:r>
          </a:p>
        </p:txBody>
      </p:sp>
      <p:sp>
        <p:nvSpPr>
          <p:cNvPr id="19" name="Tittel 1">
            <a:extLst>
              <a:ext uri="{FF2B5EF4-FFF2-40B4-BE49-F238E27FC236}">
                <a16:creationId xmlns:a16="http://schemas.microsoft.com/office/drawing/2014/main" id="{3DD6D7A4-E8AD-4652-B3C9-32FFB6DE1240}"/>
              </a:ext>
            </a:extLst>
          </p:cNvPr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6224387" y="2307673"/>
            <a:ext cx="2096512" cy="287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788">
                <a:solidFill>
                  <a:srgbClr val="000000"/>
                </a:solidFill>
                <a:cs typeface="Arial" pitchFamily="34" charset="0"/>
              </a:rPr>
              <a:t>RELEVANT KONSULENTERFARING</a:t>
            </a:r>
          </a:p>
        </p:txBody>
      </p:sp>
      <p:sp>
        <p:nvSpPr>
          <p:cNvPr id="20" name="Plassholder for tekst 10">
            <a:extLst>
              <a:ext uri="{FF2B5EF4-FFF2-40B4-BE49-F238E27FC236}">
                <a16:creationId xmlns:a16="http://schemas.microsoft.com/office/drawing/2014/main" id="{184E6267-43B6-4719-94E5-3E5631343965}"/>
              </a:ext>
            </a:extLst>
          </p:cNvPr>
          <p:cNvSpPr txBox="1">
            <a:spLocks/>
          </p:cNvSpPr>
          <p:nvPr userDrawn="1"/>
        </p:nvSpPr>
        <p:spPr>
          <a:xfrm>
            <a:off x="6224387" y="2653383"/>
            <a:ext cx="2095065" cy="95140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8913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533400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895350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260475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609725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8769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likk for å redigere tekststiler i malen</a:t>
            </a:r>
          </a:p>
          <a:p>
            <a:pPr marL="420053" marR="0" lvl="1" indent="-142518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re nivå</a:t>
            </a:r>
          </a:p>
          <a:p>
            <a:pPr marL="705088" marR="0" lvl="2" indent="-137517" algn="l" defTabSz="48756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dje nivå</a:t>
            </a:r>
          </a:p>
          <a:p>
            <a:pPr marL="992624" marR="0" lvl="3" indent="-141268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jerde nivå</a:t>
            </a:r>
          </a:p>
          <a:p>
            <a:pPr marL="1267658" marR="0" lvl="4" indent="-141268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emte nivå</a:t>
            </a:r>
          </a:p>
        </p:txBody>
      </p:sp>
      <p:sp>
        <p:nvSpPr>
          <p:cNvPr id="21" name="Plassholder for tekst 16">
            <a:extLst>
              <a:ext uri="{FF2B5EF4-FFF2-40B4-BE49-F238E27FC236}">
                <a16:creationId xmlns:a16="http://schemas.microsoft.com/office/drawing/2014/main" id="{11E646B6-CCBB-4E2F-8F77-A99790B86B89}"/>
              </a:ext>
            </a:extLst>
          </p:cNvPr>
          <p:cNvSpPr txBox="1">
            <a:spLocks/>
          </p:cNvSpPr>
          <p:nvPr userDrawn="1"/>
        </p:nvSpPr>
        <p:spPr>
          <a:xfrm>
            <a:off x="1280303" y="2307673"/>
            <a:ext cx="2089395" cy="2872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 sz="1000" b="1" i="0" kern="1200" cap="all" baseline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714375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81075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3826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1291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NAVN</a:t>
            </a:r>
          </a:p>
        </p:txBody>
      </p:sp>
      <p:sp>
        <p:nvSpPr>
          <p:cNvPr id="22" name="Plassholder for tekst 10">
            <a:extLst>
              <a:ext uri="{FF2B5EF4-FFF2-40B4-BE49-F238E27FC236}">
                <a16:creationId xmlns:a16="http://schemas.microsoft.com/office/drawing/2014/main" id="{FDB8F7C2-988D-473C-AF5C-FD4F167F2DD3}"/>
              </a:ext>
            </a:extLst>
          </p:cNvPr>
          <p:cNvSpPr txBox="1">
            <a:spLocks/>
          </p:cNvSpPr>
          <p:nvPr userDrawn="1"/>
        </p:nvSpPr>
        <p:spPr>
          <a:xfrm>
            <a:off x="3749077" y="2653741"/>
            <a:ext cx="2095263" cy="95137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8913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533400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895350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260475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609725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8769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likk for å redigere tekststiler i malen</a:t>
            </a:r>
          </a:p>
          <a:p>
            <a:pPr marL="420053" marR="0" lvl="1" indent="-142518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dre nivå</a:t>
            </a:r>
          </a:p>
          <a:p>
            <a:pPr marL="705088" marR="0" lvl="2" indent="-137517" algn="l" defTabSz="48756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redje nivå</a:t>
            </a:r>
          </a:p>
          <a:p>
            <a:pPr marL="992624" marR="0" lvl="3" indent="-141268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jerde nivå</a:t>
            </a:r>
          </a:p>
          <a:p>
            <a:pPr marL="1267658" marR="0" lvl="4" indent="-141268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75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emte nivå</a:t>
            </a:r>
          </a:p>
        </p:txBody>
      </p:sp>
      <p:sp>
        <p:nvSpPr>
          <p:cNvPr id="23" name="Plassholder for tekst 2">
            <a:extLst>
              <a:ext uri="{FF2B5EF4-FFF2-40B4-BE49-F238E27FC236}">
                <a16:creationId xmlns:a16="http://schemas.microsoft.com/office/drawing/2014/main" id="{ED8115F7-7127-4F13-9BA8-3BACE6398B14}"/>
              </a:ext>
            </a:extLst>
          </p:cNvPr>
          <p:cNvSpPr txBox="1">
            <a:spLocks/>
          </p:cNvSpPr>
          <p:nvPr userDrawn="1"/>
        </p:nvSpPr>
        <p:spPr>
          <a:xfrm>
            <a:off x="1280303" y="7613733"/>
            <a:ext cx="2089395" cy="111977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 sz="900" b="0" i="0" kern="1200" baseline="0">
                <a:solidFill>
                  <a:schemeClr val="tx1"/>
                </a:solidFill>
                <a:latin typeface="+mj-lt"/>
                <a:ea typeface="+mn-ea"/>
                <a:cs typeface="Arial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20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14400" indent="0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8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6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6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0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entury Gothic"/>
                <a:ea typeface="+mn-ea"/>
                <a:cs typeface="Arial"/>
              </a:rPr>
              <a:t>Stilling og kontaktinformasjon</a:t>
            </a:r>
          </a:p>
        </p:txBody>
      </p:sp>
      <p:sp>
        <p:nvSpPr>
          <p:cNvPr id="24" name="Plassholder for bilde 3">
            <a:extLst>
              <a:ext uri="{FF2B5EF4-FFF2-40B4-BE49-F238E27FC236}">
                <a16:creationId xmlns:a16="http://schemas.microsoft.com/office/drawing/2014/main" id="{398F2DA4-0320-4215-A2BF-ECF3CBD3F191}"/>
              </a:ext>
            </a:extLst>
          </p:cNvPr>
          <p:cNvSpPr txBox="1">
            <a:spLocks/>
          </p:cNvSpPr>
          <p:nvPr userDrawn="1"/>
        </p:nvSpPr>
        <p:spPr>
          <a:xfrm>
            <a:off x="1280303" y="2838871"/>
            <a:ext cx="2089395" cy="4488960"/>
          </a:xfrm>
          <a:prstGeom prst="rect">
            <a:avLst/>
          </a:prstGeom>
        </p:spPr>
        <p:txBody>
          <a:bodyPr vert="horz" lIns="72009" tIns="36005" rIns="72009" bIns="36005" rtlCol="0">
            <a:noAutofit/>
          </a:bodyPr>
          <a:lstStyle>
            <a:lvl1pPr marL="363538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14375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81075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3826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1291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6286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nb-NO" sz="78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6851417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022A1DD2-BB9D-45B0-96B0-66DF094481A0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9" name="Plassholder for tekst 10">
            <a:extLst>
              <a:ext uri="{FF2B5EF4-FFF2-40B4-BE49-F238E27FC236}">
                <a16:creationId xmlns:a16="http://schemas.microsoft.com/office/drawing/2014/main" id="{E92087DA-8C18-403F-B4C8-FC7557010640}"/>
              </a:ext>
            </a:extLst>
          </p:cNvPr>
          <p:cNvSpPr txBox="1">
            <a:spLocks/>
          </p:cNvSpPr>
          <p:nvPr userDrawn="1"/>
        </p:nvSpPr>
        <p:spPr>
          <a:xfrm>
            <a:off x="2591320" y="2789436"/>
            <a:ext cx="2041614" cy="3645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 sz="10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44054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499102" indent="0" algn="l" defTabSz="619125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72879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14735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VN</a:t>
            </a:r>
          </a:p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olle</a:t>
            </a:r>
          </a:p>
        </p:txBody>
      </p:sp>
      <p:sp>
        <p:nvSpPr>
          <p:cNvPr id="20" name="Plassholder for tekst 10">
            <a:extLst>
              <a:ext uri="{FF2B5EF4-FFF2-40B4-BE49-F238E27FC236}">
                <a16:creationId xmlns:a16="http://schemas.microsoft.com/office/drawing/2014/main" id="{FC80817E-FD61-46C9-819D-54B2B2B5DA93}"/>
              </a:ext>
            </a:extLst>
          </p:cNvPr>
          <p:cNvSpPr txBox="1">
            <a:spLocks/>
          </p:cNvSpPr>
          <p:nvPr userDrawn="1"/>
        </p:nvSpPr>
        <p:spPr>
          <a:xfrm>
            <a:off x="2591320" y="7319292"/>
            <a:ext cx="2041614" cy="3903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 sz="10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69380" indent="-125325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620030" indent="-120928" algn="l" defTabSz="619125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72879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14735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VN</a:t>
            </a:r>
          </a:p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olle</a:t>
            </a:r>
          </a:p>
        </p:txBody>
      </p:sp>
      <p:sp>
        <p:nvSpPr>
          <p:cNvPr id="21" name="Plassholder for bilde 3">
            <a:extLst>
              <a:ext uri="{FF2B5EF4-FFF2-40B4-BE49-F238E27FC236}">
                <a16:creationId xmlns:a16="http://schemas.microsoft.com/office/drawing/2014/main" id="{A57261C9-1677-4862-A5F0-92A905B97B2B}"/>
              </a:ext>
            </a:extLst>
          </p:cNvPr>
          <p:cNvSpPr txBox="1">
            <a:spLocks/>
          </p:cNvSpPr>
          <p:nvPr userDrawn="1"/>
        </p:nvSpPr>
        <p:spPr>
          <a:xfrm>
            <a:off x="1292601" y="2789285"/>
            <a:ext cx="1047385" cy="2367561"/>
          </a:xfrm>
          <a:prstGeom prst="rect">
            <a:avLst/>
          </a:prstGeom>
        </p:spPr>
        <p:txBody>
          <a:bodyPr vert="horz" lIns="72009" tIns="36005" rIns="72009" bIns="36005" rtlCol="0">
            <a:noAutofit/>
          </a:bodyPr>
          <a:lstStyle>
            <a:lvl1pPr marL="363538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14375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81075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3826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1291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6286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endParaRPr kumimoji="0" lang="nb-NO" sz="7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2" name="Plassholder for bilde 3">
            <a:extLst>
              <a:ext uri="{FF2B5EF4-FFF2-40B4-BE49-F238E27FC236}">
                <a16:creationId xmlns:a16="http://schemas.microsoft.com/office/drawing/2014/main" id="{A7BF827C-0695-472F-B1FB-BF77A5722537}"/>
              </a:ext>
            </a:extLst>
          </p:cNvPr>
          <p:cNvSpPr txBox="1">
            <a:spLocks/>
          </p:cNvSpPr>
          <p:nvPr userDrawn="1"/>
        </p:nvSpPr>
        <p:spPr>
          <a:xfrm>
            <a:off x="1295903" y="7319293"/>
            <a:ext cx="1040781" cy="2367409"/>
          </a:xfrm>
          <a:prstGeom prst="rect">
            <a:avLst/>
          </a:prstGeom>
        </p:spPr>
        <p:txBody>
          <a:bodyPr vert="horz" lIns="72009" tIns="36005" rIns="72009" bIns="36005" rtlCol="0">
            <a:noAutofit/>
          </a:bodyPr>
          <a:lstStyle>
            <a:lvl1pPr marL="363538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14375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81075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3826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1291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6286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endParaRPr kumimoji="0" lang="nb-NO" sz="7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3" name="Plassholder for tekst 10">
            <a:extLst>
              <a:ext uri="{FF2B5EF4-FFF2-40B4-BE49-F238E27FC236}">
                <a16:creationId xmlns:a16="http://schemas.microsoft.com/office/drawing/2014/main" id="{58AD8A76-E979-462E-AED6-C3EB98580830}"/>
              </a:ext>
            </a:extLst>
          </p:cNvPr>
          <p:cNvSpPr txBox="1">
            <a:spLocks/>
          </p:cNvSpPr>
          <p:nvPr userDrawn="1"/>
        </p:nvSpPr>
        <p:spPr>
          <a:xfrm>
            <a:off x="6235316" y="2789134"/>
            <a:ext cx="2073285" cy="36453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 sz="10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244054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499102" indent="0" algn="l" defTabSz="619125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72879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14735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VN</a:t>
            </a:r>
          </a:p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olle</a:t>
            </a:r>
          </a:p>
        </p:txBody>
      </p:sp>
      <p:sp>
        <p:nvSpPr>
          <p:cNvPr id="24" name="Plassholder for tekst 10">
            <a:extLst>
              <a:ext uri="{FF2B5EF4-FFF2-40B4-BE49-F238E27FC236}">
                <a16:creationId xmlns:a16="http://schemas.microsoft.com/office/drawing/2014/main" id="{A67417D3-F4F4-4525-A314-24BE3E806851}"/>
              </a:ext>
            </a:extLst>
          </p:cNvPr>
          <p:cNvSpPr txBox="1">
            <a:spLocks/>
          </p:cNvSpPr>
          <p:nvPr userDrawn="1"/>
        </p:nvSpPr>
        <p:spPr>
          <a:xfrm>
            <a:off x="6235316" y="7318990"/>
            <a:ext cx="2073285" cy="390382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100000"/>
              <a:buFont typeface="Wingdings" pitchFamily="2" charset="2"/>
              <a:buNone/>
              <a:defRPr sz="1000" b="1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69380" indent="-125325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620030" indent="-120928" algn="l" defTabSz="619125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872879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114735" indent="-124226" algn="l" defTabSz="457200" rtl="0" eaLnBrk="1" latinLnBrk="0" hangingPunct="1">
              <a:spcBef>
                <a:spcPts val="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AVN</a:t>
            </a:r>
          </a:p>
          <a:p>
            <a:pPr marL="0" marR="0" lvl="0" indent="0" algn="l" defTabSz="36004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None/>
              <a:tabLst/>
              <a:defRPr/>
            </a:pPr>
            <a:r>
              <a:rPr kumimoji="0" lang="nb-NO" sz="78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olle</a:t>
            </a:r>
          </a:p>
        </p:txBody>
      </p:sp>
      <p:sp>
        <p:nvSpPr>
          <p:cNvPr id="25" name="Plassholder for bilde 3">
            <a:extLst>
              <a:ext uri="{FF2B5EF4-FFF2-40B4-BE49-F238E27FC236}">
                <a16:creationId xmlns:a16="http://schemas.microsoft.com/office/drawing/2014/main" id="{6E4081EE-543F-4179-A2CC-A3691850208F}"/>
              </a:ext>
            </a:extLst>
          </p:cNvPr>
          <p:cNvSpPr txBox="1">
            <a:spLocks/>
          </p:cNvSpPr>
          <p:nvPr userDrawn="1"/>
        </p:nvSpPr>
        <p:spPr>
          <a:xfrm>
            <a:off x="4936596" y="2788983"/>
            <a:ext cx="1047385" cy="2367561"/>
          </a:xfrm>
          <a:prstGeom prst="rect">
            <a:avLst/>
          </a:prstGeom>
        </p:spPr>
        <p:txBody>
          <a:bodyPr vert="horz" lIns="72009" tIns="36005" rIns="72009" bIns="36005" rtlCol="0">
            <a:noAutofit/>
          </a:bodyPr>
          <a:lstStyle>
            <a:lvl1pPr marL="363538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14375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81075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3826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1291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6286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endParaRPr kumimoji="0" lang="nb-NO" sz="7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6" name="Plassholder for bilde 3">
            <a:extLst>
              <a:ext uri="{FF2B5EF4-FFF2-40B4-BE49-F238E27FC236}">
                <a16:creationId xmlns:a16="http://schemas.microsoft.com/office/drawing/2014/main" id="{8138F52E-CB6B-4B65-974D-F1B8D04E4050}"/>
              </a:ext>
            </a:extLst>
          </p:cNvPr>
          <p:cNvSpPr txBox="1">
            <a:spLocks/>
          </p:cNvSpPr>
          <p:nvPr userDrawn="1"/>
        </p:nvSpPr>
        <p:spPr>
          <a:xfrm>
            <a:off x="4939898" y="7318990"/>
            <a:ext cx="1040781" cy="2367409"/>
          </a:xfrm>
          <a:prstGeom prst="rect">
            <a:avLst/>
          </a:prstGeom>
        </p:spPr>
        <p:txBody>
          <a:bodyPr vert="horz" lIns="72009" tIns="36005" rIns="72009" bIns="36005" rtlCol="0">
            <a:noAutofit/>
          </a:bodyPr>
          <a:lstStyle>
            <a:lvl1pPr marL="363538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14375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81075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3826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712913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5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6286" marR="0" lvl="0" indent="-148769" algn="l" defTabSz="36004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737472"/>
              </a:buClr>
              <a:buSzPct val="100000"/>
              <a:buFont typeface="Wingdings" pitchFamily="2" charset="2"/>
              <a:buChar char="§"/>
              <a:tabLst/>
              <a:defRPr/>
            </a:pPr>
            <a:endParaRPr kumimoji="0" lang="nb-NO" sz="78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435836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se/plass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="ctr" anchorCtr="0">
            <a:noAutofit/>
          </a:bodyPr>
          <a:lstStyle/>
          <a:p>
            <a:pPr marL="0" lvl="0" indent="0" algn="ctr" eaLnBrk="1" fontAlgn="auto" hangingPunct="1">
              <a:lnSpc>
                <a:spcPct val="90000"/>
              </a:lnSpc>
              <a:defRPr/>
            </a:pPr>
            <a:endParaRPr lang="nb-NO" sz="1103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cxnSp>
        <p:nvCxnSpPr>
          <p:cNvPr id="10" name="Rett linje 9">
            <a:extLst>
              <a:ext uri="{FF2B5EF4-FFF2-40B4-BE49-F238E27FC236}">
                <a16:creationId xmlns:a16="http://schemas.microsoft.com/office/drawing/2014/main" id="{48833C7A-093B-4D0A-87B5-AB9345957CD7}"/>
              </a:ext>
            </a:extLst>
          </p:cNvPr>
          <p:cNvCxnSpPr>
            <a:cxnSpLocks/>
          </p:cNvCxnSpPr>
          <p:nvPr/>
        </p:nvCxnSpPr>
        <p:spPr>
          <a:xfrm flipH="1">
            <a:off x="5464212" y="1957891"/>
            <a:ext cx="1" cy="8852349"/>
          </a:xfrm>
          <a:prstGeom prst="line">
            <a:avLst/>
          </a:prstGeom>
          <a:ln w="19050">
            <a:solidFill>
              <a:srgbClr val="9E9F9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llipse 10">
            <a:extLst>
              <a:ext uri="{FF2B5EF4-FFF2-40B4-BE49-F238E27FC236}">
                <a16:creationId xmlns:a16="http://schemas.microsoft.com/office/drawing/2014/main" id="{BE739F37-E30E-47D5-9CA4-EC8222241BD8}"/>
              </a:ext>
            </a:extLst>
          </p:cNvPr>
          <p:cNvSpPr/>
          <p:nvPr/>
        </p:nvSpPr>
        <p:spPr>
          <a:xfrm>
            <a:off x="5432445" y="1807287"/>
            <a:ext cx="63536" cy="150605"/>
          </a:xfrm>
          <a:prstGeom prst="ellipse">
            <a:avLst/>
          </a:prstGeom>
          <a:solidFill>
            <a:srgbClr val="52565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CDCEB5C3-DCE5-4B85-842F-1DC69DB79D9B}"/>
              </a:ext>
            </a:extLst>
          </p:cNvPr>
          <p:cNvSpPr/>
          <p:nvPr/>
        </p:nvSpPr>
        <p:spPr>
          <a:xfrm>
            <a:off x="5432444" y="10810241"/>
            <a:ext cx="63536" cy="150605"/>
          </a:xfrm>
          <a:prstGeom prst="ellipse">
            <a:avLst/>
          </a:prstGeom>
          <a:solidFill>
            <a:srgbClr val="52565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cxnSp>
        <p:nvCxnSpPr>
          <p:cNvPr id="13" name="Rett linje 12">
            <a:extLst>
              <a:ext uri="{FF2B5EF4-FFF2-40B4-BE49-F238E27FC236}">
                <a16:creationId xmlns:a16="http://schemas.microsoft.com/office/drawing/2014/main" id="{02C19455-97A4-44AD-BFDA-739FD73E1894}"/>
              </a:ext>
            </a:extLst>
          </p:cNvPr>
          <p:cNvCxnSpPr>
            <a:cxnSpLocks/>
            <a:endCxn id="14" idx="6"/>
          </p:cNvCxnSpPr>
          <p:nvPr/>
        </p:nvCxnSpPr>
        <p:spPr>
          <a:xfrm flipH="1" flipV="1">
            <a:off x="2707398" y="6384066"/>
            <a:ext cx="5474802" cy="12551"/>
          </a:xfrm>
          <a:prstGeom prst="line">
            <a:avLst/>
          </a:prstGeom>
          <a:ln w="19050">
            <a:solidFill>
              <a:srgbClr val="9E9F9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Ellipse 13">
            <a:extLst>
              <a:ext uri="{FF2B5EF4-FFF2-40B4-BE49-F238E27FC236}">
                <a16:creationId xmlns:a16="http://schemas.microsoft.com/office/drawing/2014/main" id="{191276F3-617B-40B0-90D8-23AFF8633018}"/>
              </a:ext>
            </a:extLst>
          </p:cNvPr>
          <p:cNvSpPr/>
          <p:nvPr/>
        </p:nvSpPr>
        <p:spPr>
          <a:xfrm>
            <a:off x="2643862" y="6308763"/>
            <a:ext cx="63536" cy="150605"/>
          </a:xfrm>
          <a:prstGeom prst="ellipse">
            <a:avLst/>
          </a:prstGeom>
          <a:solidFill>
            <a:srgbClr val="52565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CD3FE6BB-0C43-4732-9A1F-4A9DD631C837}"/>
              </a:ext>
            </a:extLst>
          </p:cNvPr>
          <p:cNvSpPr/>
          <p:nvPr/>
        </p:nvSpPr>
        <p:spPr>
          <a:xfrm>
            <a:off x="8189259" y="6308761"/>
            <a:ext cx="63536" cy="150605"/>
          </a:xfrm>
          <a:prstGeom prst="ellipse">
            <a:avLst/>
          </a:prstGeom>
          <a:solidFill>
            <a:srgbClr val="52565F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cxnSp>
        <p:nvCxnSpPr>
          <p:cNvPr id="21" name="Rett linje 20">
            <a:extLst>
              <a:ext uri="{FF2B5EF4-FFF2-40B4-BE49-F238E27FC236}">
                <a16:creationId xmlns:a16="http://schemas.microsoft.com/office/drawing/2014/main" id="{553491FA-666B-402E-99BB-ADB181ACECFB}"/>
              </a:ext>
            </a:extLst>
          </p:cNvPr>
          <p:cNvCxnSpPr/>
          <p:nvPr/>
        </p:nvCxnSpPr>
        <p:spPr>
          <a:xfrm>
            <a:off x="2788584" y="2158702"/>
            <a:ext cx="0" cy="3999455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3EF5C16E-59CF-4760-8967-6EB56C013C00}"/>
              </a:ext>
            </a:extLst>
          </p:cNvPr>
          <p:cNvCxnSpPr/>
          <p:nvPr/>
        </p:nvCxnSpPr>
        <p:spPr>
          <a:xfrm>
            <a:off x="2788584" y="6643445"/>
            <a:ext cx="0" cy="3999455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tt linje 22">
            <a:extLst>
              <a:ext uri="{FF2B5EF4-FFF2-40B4-BE49-F238E27FC236}">
                <a16:creationId xmlns:a16="http://schemas.microsoft.com/office/drawing/2014/main" id="{7ED8B71E-18D9-4725-892E-76C392A8A563}"/>
              </a:ext>
            </a:extLst>
          </p:cNvPr>
          <p:cNvCxnSpPr/>
          <p:nvPr/>
        </p:nvCxnSpPr>
        <p:spPr>
          <a:xfrm>
            <a:off x="8097483" y="6643445"/>
            <a:ext cx="0" cy="3999455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ett linje 23">
            <a:extLst>
              <a:ext uri="{FF2B5EF4-FFF2-40B4-BE49-F238E27FC236}">
                <a16:creationId xmlns:a16="http://schemas.microsoft.com/office/drawing/2014/main" id="{6ABC15BC-3CDF-4363-8521-8A12824FBBF0}"/>
              </a:ext>
            </a:extLst>
          </p:cNvPr>
          <p:cNvCxnSpPr/>
          <p:nvPr/>
        </p:nvCxnSpPr>
        <p:spPr>
          <a:xfrm>
            <a:off x="8097483" y="2158702"/>
            <a:ext cx="0" cy="3999455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tt linje 24">
            <a:extLst>
              <a:ext uri="{FF2B5EF4-FFF2-40B4-BE49-F238E27FC236}">
                <a16:creationId xmlns:a16="http://schemas.microsoft.com/office/drawing/2014/main" id="{DAA623DC-29A6-4B1A-9DC0-B7188756F462}"/>
              </a:ext>
            </a:extLst>
          </p:cNvPr>
          <p:cNvCxnSpPr>
            <a:cxnSpLocks/>
          </p:cNvCxnSpPr>
          <p:nvPr/>
        </p:nvCxnSpPr>
        <p:spPr>
          <a:xfrm flipH="1">
            <a:off x="5545399" y="2158701"/>
            <a:ext cx="2552084" cy="0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Rett linje 25">
            <a:extLst>
              <a:ext uri="{FF2B5EF4-FFF2-40B4-BE49-F238E27FC236}">
                <a16:creationId xmlns:a16="http://schemas.microsoft.com/office/drawing/2014/main" id="{639977E4-276B-48B1-A6EB-2219AD0B1443}"/>
              </a:ext>
            </a:extLst>
          </p:cNvPr>
          <p:cNvCxnSpPr>
            <a:cxnSpLocks/>
          </p:cNvCxnSpPr>
          <p:nvPr/>
        </p:nvCxnSpPr>
        <p:spPr>
          <a:xfrm flipH="1">
            <a:off x="2788584" y="2158701"/>
            <a:ext cx="2552084" cy="0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tt linje 26">
            <a:extLst>
              <a:ext uri="{FF2B5EF4-FFF2-40B4-BE49-F238E27FC236}">
                <a16:creationId xmlns:a16="http://schemas.microsoft.com/office/drawing/2014/main" id="{4EF00F59-2DAA-4D94-800B-DDF37E9D40FF}"/>
              </a:ext>
            </a:extLst>
          </p:cNvPr>
          <p:cNvCxnSpPr>
            <a:cxnSpLocks/>
          </p:cNvCxnSpPr>
          <p:nvPr/>
        </p:nvCxnSpPr>
        <p:spPr>
          <a:xfrm flipH="1">
            <a:off x="2788584" y="10642899"/>
            <a:ext cx="2552084" cy="0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linje 27">
            <a:extLst>
              <a:ext uri="{FF2B5EF4-FFF2-40B4-BE49-F238E27FC236}">
                <a16:creationId xmlns:a16="http://schemas.microsoft.com/office/drawing/2014/main" id="{90C2219B-AAF7-4215-98DE-474060A3A59F}"/>
              </a:ext>
            </a:extLst>
          </p:cNvPr>
          <p:cNvCxnSpPr>
            <a:cxnSpLocks/>
          </p:cNvCxnSpPr>
          <p:nvPr/>
        </p:nvCxnSpPr>
        <p:spPr>
          <a:xfrm flipH="1">
            <a:off x="5545399" y="10642899"/>
            <a:ext cx="2552084" cy="0"/>
          </a:xfrm>
          <a:prstGeom prst="line">
            <a:avLst/>
          </a:prstGeom>
          <a:ln w="19050">
            <a:solidFill>
              <a:srgbClr val="CCCD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ktangel 28">
            <a:extLst>
              <a:ext uri="{FF2B5EF4-FFF2-40B4-BE49-F238E27FC236}">
                <a16:creationId xmlns:a16="http://schemas.microsoft.com/office/drawing/2014/main" id="{698AE326-2185-41E4-B916-F8C636866372}"/>
              </a:ext>
            </a:extLst>
          </p:cNvPr>
          <p:cNvSpPr/>
          <p:nvPr userDrawn="1"/>
        </p:nvSpPr>
        <p:spPr>
          <a:xfrm>
            <a:off x="67868" y="1338486"/>
            <a:ext cx="4148644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30" name="Plassholder for tekst 15">
            <a:extLst>
              <a:ext uri="{FF2B5EF4-FFF2-40B4-BE49-F238E27FC236}">
                <a16:creationId xmlns:a16="http://schemas.microsoft.com/office/drawing/2014/main" id="{123F2344-6577-4D78-A177-77A13806842C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72868" y="280618"/>
            <a:ext cx="4140518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3" name="Tittel 3">
            <a:extLst>
              <a:ext uri="{FF2B5EF4-FFF2-40B4-BE49-F238E27FC236}">
                <a16:creationId xmlns:a16="http://schemas.microsoft.com/office/drawing/2014/main" id="{A164DFFB-4CE3-49E7-BA63-DA3EA468DFC7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038575" y="985581"/>
            <a:ext cx="845021" cy="788280"/>
          </a:xfrm>
          <a:prstGeom prst="rect">
            <a:avLst/>
          </a:prstGeom>
        </p:spPr>
        <p:txBody>
          <a:bodyPr/>
          <a:lstStyle>
            <a:lvl1pPr algn="ctr">
              <a:defRPr sz="1103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1" name="Plassholder for tekst 15">
            <a:extLst>
              <a:ext uri="{FF2B5EF4-FFF2-40B4-BE49-F238E27FC236}">
                <a16:creationId xmlns:a16="http://schemas.microsoft.com/office/drawing/2014/main" id="{0C43F332-9C84-431C-B271-25486EE2FE7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58694" y="6023353"/>
            <a:ext cx="845021" cy="7781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3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2" name="Plassholder for tekst 15">
            <a:extLst>
              <a:ext uri="{FF2B5EF4-FFF2-40B4-BE49-F238E27FC236}">
                <a16:creationId xmlns:a16="http://schemas.microsoft.com/office/drawing/2014/main" id="{9EA46485-3597-4C26-8D87-9A80ADEA4D9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038575" y="11057493"/>
            <a:ext cx="845021" cy="788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3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3" name="Plassholder for tekst 15">
            <a:extLst>
              <a:ext uri="{FF2B5EF4-FFF2-40B4-BE49-F238E27FC236}">
                <a16:creationId xmlns:a16="http://schemas.microsoft.com/office/drawing/2014/main" id="{6E21D570-18EE-48BE-A0B9-F1AFAB9A3E8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682353" y="5989921"/>
            <a:ext cx="845021" cy="7882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3"/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727409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nlig med str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022A1DD2-BB9D-45B0-96B0-66DF094481A0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0A7407F3-3B1E-455B-83AB-AD652320A5A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60083" y="2396897"/>
            <a:ext cx="8281035" cy="97231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18" b="1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98382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mskr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698AE326-2185-41E4-B916-F8C636866372}"/>
              </a:ext>
            </a:extLst>
          </p:cNvPr>
          <p:cNvSpPr/>
          <p:nvPr userDrawn="1"/>
        </p:nvSpPr>
        <p:spPr>
          <a:xfrm>
            <a:off x="67868" y="1338486"/>
            <a:ext cx="4148644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30" name="Plassholder for tekst 15">
            <a:extLst>
              <a:ext uri="{FF2B5EF4-FFF2-40B4-BE49-F238E27FC236}">
                <a16:creationId xmlns:a16="http://schemas.microsoft.com/office/drawing/2014/main" id="{123F2344-6577-4D78-A177-77A1380684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868" y="280618"/>
            <a:ext cx="4140518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grpSp>
        <p:nvGrpSpPr>
          <p:cNvPr id="31" name="Gruppe 30">
            <a:extLst>
              <a:ext uri="{FF2B5EF4-FFF2-40B4-BE49-F238E27FC236}">
                <a16:creationId xmlns:a16="http://schemas.microsoft.com/office/drawing/2014/main" id="{4E50518A-37E5-4EAA-B4B6-352C40AD7E74}"/>
              </a:ext>
            </a:extLst>
          </p:cNvPr>
          <p:cNvGrpSpPr/>
          <p:nvPr userDrawn="1"/>
        </p:nvGrpSpPr>
        <p:grpSpPr>
          <a:xfrm>
            <a:off x="109422" y="1539660"/>
            <a:ext cx="9381443" cy="10274626"/>
            <a:chOff x="138948" y="824818"/>
            <a:chExt cx="11912944" cy="5504264"/>
          </a:xfrm>
        </p:grpSpPr>
        <p:sp>
          <p:nvSpPr>
            <p:cNvPr id="32" name="Rektangel 31">
              <a:extLst>
                <a:ext uri="{FF2B5EF4-FFF2-40B4-BE49-F238E27FC236}">
                  <a16:creationId xmlns:a16="http://schemas.microsoft.com/office/drawing/2014/main" id="{F75DEAA7-3DD9-43F5-ACEA-4D4E2F51A92E}"/>
                </a:ext>
              </a:extLst>
            </p:cNvPr>
            <p:cNvSpPr/>
            <p:nvPr/>
          </p:nvSpPr>
          <p:spPr>
            <a:xfrm>
              <a:off x="7013665" y="840870"/>
              <a:ext cx="1603553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6650ACCA-4543-4F08-8A69-1E6E05FAB6D7}"/>
                </a:ext>
              </a:extLst>
            </p:cNvPr>
            <p:cNvSpPr/>
            <p:nvPr/>
          </p:nvSpPr>
          <p:spPr>
            <a:xfrm>
              <a:off x="8732054" y="840870"/>
              <a:ext cx="1598046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Rektangel 33">
              <a:extLst>
                <a:ext uri="{FF2B5EF4-FFF2-40B4-BE49-F238E27FC236}">
                  <a16:creationId xmlns:a16="http://schemas.microsoft.com/office/drawing/2014/main" id="{98A84C7E-05F8-4E10-9BCB-5E9F33A4E21B}"/>
                </a:ext>
              </a:extLst>
            </p:cNvPr>
            <p:cNvSpPr/>
            <p:nvPr/>
          </p:nvSpPr>
          <p:spPr>
            <a:xfrm>
              <a:off x="140109" y="840870"/>
              <a:ext cx="1603553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Rektangel 34">
              <a:extLst>
                <a:ext uri="{FF2B5EF4-FFF2-40B4-BE49-F238E27FC236}">
                  <a16:creationId xmlns:a16="http://schemas.microsoft.com/office/drawing/2014/main" id="{10A2B8A7-0B91-47AC-A137-F5FF745110E0}"/>
                </a:ext>
              </a:extLst>
            </p:cNvPr>
            <p:cNvSpPr/>
            <p:nvPr/>
          </p:nvSpPr>
          <p:spPr>
            <a:xfrm>
              <a:off x="1858498" y="824818"/>
              <a:ext cx="1603553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ktangel 35">
              <a:extLst>
                <a:ext uri="{FF2B5EF4-FFF2-40B4-BE49-F238E27FC236}">
                  <a16:creationId xmlns:a16="http://schemas.microsoft.com/office/drawing/2014/main" id="{803749BD-1900-4363-BBD1-2242834829E1}"/>
                </a:ext>
              </a:extLst>
            </p:cNvPr>
            <p:cNvSpPr/>
            <p:nvPr/>
          </p:nvSpPr>
          <p:spPr>
            <a:xfrm>
              <a:off x="3576887" y="826970"/>
              <a:ext cx="1603553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ktangel 36">
              <a:extLst>
                <a:ext uri="{FF2B5EF4-FFF2-40B4-BE49-F238E27FC236}">
                  <a16:creationId xmlns:a16="http://schemas.microsoft.com/office/drawing/2014/main" id="{C9F5BE60-ACF2-4F98-B187-C91B924F685C}"/>
                </a:ext>
              </a:extLst>
            </p:cNvPr>
            <p:cNvSpPr/>
            <p:nvPr/>
          </p:nvSpPr>
          <p:spPr>
            <a:xfrm>
              <a:off x="5295275" y="840870"/>
              <a:ext cx="1603553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Rektangel 37">
              <a:extLst>
                <a:ext uri="{FF2B5EF4-FFF2-40B4-BE49-F238E27FC236}">
                  <a16:creationId xmlns:a16="http://schemas.microsoft.com/office/drawing/2014/main" id="{1515BAE1-9BB2-49B7-AEA2-68EE5F30C15A}"/>
                </a:ext>
              </a:extLst>
            </p:cNvPr>
            <p:cNvSpPr/>
            <p:nvPr/>
          </p:nvSpPr>
          <p:spPr>
            <a:xfrm>
              <a:off x="10444936" y="840870"/>
              <a:ext cx="1603553" cy="5396754"/>
            </a:xfrm>
            <a:prstGeom prst="rect">
              <a:avLst/>
            </a:prstGeom>
            <a:solidFill>
              <a:srgbClr val="DC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TekstSylinder 38">
              <a:extLst>
                <a:ext uri="{FF2B5EF4-FFF2-40B4-BE49-F238E27FC236}">
                  <a16:creationId xmlns:a16="http://schemas.microsoft.com/office/drawing/2014/main" id="{638192E4-47EA-49C1-AD0E-BDB0FDC2D038}"/>
                </a:ext>
              </a:extLst>
            </p:cNvPr>
            <p:cNvSpPr txBox="1"/>
            <p:nvPr/>
          </p:nvSpPr>
          <p:spPr>
            <a:xfrm>
              <a:off x="147852" y="876279"/>
              <a:ext cx="1187890" cy="1144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788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endParaRPr>
            </a:p>
          </p:txBody>
        </p:sp>
        <p:sp>
          <p:nvSpPr>
            <p:cNvPr id="46" name="Rektangel 45">
              <a:extLst>
                <a:ext uri="{FF2B5EF4-FFF2-40B4-BE49-F238E27FC236}">
                  <a16:creationId xmlns:a16="http://schemas.microsoft.com/office/drawing/2014/main" id="{D8FE708D-1B38-4514-BD67-2E35CCD7D904}"/>
                </a:ext>
              </a:extLst>
            </p:cNvPr>
            <p:cNvSpPr/>
            <p:nvPr/>
          </p:nvSpPr>
          <p:spPr>
            <a:xfrm>
              <a:off x="138948" y="3146612"/>
              <a:ext cx="5060069" cy="3169971"/>
            </a:xfrm>
            <a:prstGeom prst="rect">
              <a:avLst/>
            </a:prstGeom>
            <a:solidFill>
              <a:srgbClr val="51A7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Rektangel 48">
              <a:extLst>
                <a:ext uri="{FF2B5EF4-FFF2-40B4-BE49-F238E27FC236}">
                  <a16:creationId xmlns:a16="http://schemas.microsoft.com/office/drawing/2014/main" id="{C85CBDC7-3366-4810-B321-ABE299105AC6}"/>
                </a:ext>
              </a:extLst>
            </p:cNvPr>
            <p:cNvSpPr/>
            <p:nvPr/>
          </p:nvSpPr>
          <p:spPr>
            <a:xfrm>
              <a:off x="5325033" y="3887155"/>
              <a:ext cx="3267716" cy="2429428"/>
            </a:xfrm>
            <a:prstGeom prst="rect">
              <a:avLst/>
            </a:prstGeom>
            <a:solidFill>
              <a:srgbClr val="5256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Rektangel 51">
              <a:extLst>
                <a:ext uri="{FF2B5EF4-FFF2-40B4-BE49-F238E27FC236}">
                  <a16:creationId xmlns:a16="http://schemas.microsoft.com/office/drawing/2014/main" id="{28ADE7C4-254C-46B8-B999-9A3D615A813F}"/>
                </a:ext>
              </a:extLst>
            </p:cNvPr>
            <p:cNvSpPr/>
            <p:nvPr/>
          </p:nvSpPr>
          <p:spPr>
            <a:xfrm>
              <a:off x="8749550" y="4858870"/>
              <a:ext cx="3285696" cy="1457713"/>
            </a:xfrm>
            <a:prstGeom prst="rect">
              <a:avLst/>
            </a:prstGeom>
            <a:solidFill>
              <a:srgbClr val="A6AA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Pil: høyre 54">
              <a:extLst>
                <a:ext uri="{FF2B5EF4-FFF2-40B4-BE49-F238E27FC236}">
                  <a16:creationId xmlns:a16="http://schemas.microsoft.com/office/drawing/2014/main" id="{9E6D48E8-D256-4CD1-BD8B-33162DCC2542}"/>
                </a:ext>
              </a:extLst>
            </p:cNvPr>
            <p:cNvSpPr/>
            <p:nvPr/>
          </p:nvSpPr>
          <p:spPr>
            <a:xfrm>
              <a:off x="4706471" y="2821431"/>
              <a:ext cx="336174" cy="243771"/>
            </a:xfrm>
            <a:prstGeom prst="rightArrow">
              <a:avLst/>
            </a:prstGeom>
            <a:solidFill>
              <a:srgbClr val="51A7F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Pil: høyre 55">
              <a:extLst>
                <a:ext uri="{FF2B5EF4-FFF2-40B4-BE49-F238E27FC236}">
                  <a16:creationId xmlns:a16="http://schemas.microsoft.com/office/drawing/2014/main" id="{ABFA2CED-E03F-46C6-9BB7-02D354DFC51C}"/>
                </a:ext>
              </a:extLst>
            </p:cNvPr>
            <p:cNvSpPr/>
            <p:nvPr/>
          </p:nvSpPr>
          <p:spPr>
            <a:xfrm>
              <a:off x="8195972" y="3549575"/>
              <a:ext cx="336174" cy="243771"/>
            </a:xfrm>
            <a:prstGeom prst="rightArrow">
              <a:avLst/>
            </a:prstGeom>
            <a:solidFill>
              <a:srgbClr val="5256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Pil: høyre 56">
              <a:extLst>
                <a:ext uri="{FF2B5EF4-FFF2-40B4-BE49-F238E27FC236}">
                  <a16:creationId xmlns:a16="http://schemas.microsoft.com/office/drawing/2014/main" id="{866D7861-7571-46C6-877B-305B8B8F4BC2}"/>
                </a:ext>
              </a:extLst>
            </p:cNvPr>
            <p:cNvSpPr/>
            <p:nvPr/>
          </p:nvSpPr>
          <p:spPr>
            <a:xfrm>
              <a:off x="11609230" y="4518284"/>
              <a:ext cx="336174" cy="243771"/>
            </a:xfrm>
            <a:prstGeom prst="rightArrow">
              <a:avLst/>
            </a:prstGeom>
            <a:solidFill>
              <a:srgbClr val="A6AA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Rektangel 57">
              <a:extLst>
                <a:ext uri="{FF2B5EF4-FFF2-40B4-BE49-F238E27FC236}">
                  <a16:creationId xmlns:a16="http://schemas.microsoft.com/office/drawing/2014/main" id="{1182290C-CF3C-445F-A532-5052A7244648}"/>
                </a:ext>
              </a:extLst>
            </p:cNvPr>
            <p:cNvSpPr/>
            <p:nvPr/>
          </p:nvSpPr>
          <p:spPr>
            <a:xfrm>
              <a:off x="5318398" y="826970"/>
              <a:ext cx="3274351" cy="5502111"/>
            </a:xfrm>
            <a:prstGeom prst="rect">
              <a:avLst/>
            </a:prstGeom>
            <a:noFill/>
            <a:ln w="38100">
              <a:solidFill>
                <a:srgbClr val="52565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Rektangel 58">
              <a:extLst>
                <a:ext uri="{FF2B5EF4-FFF2-40B4-BE49-F238E27FC236}">
                  <a16:creationId xmlns:a16="http://schemas.microsoft.com/office/drawing/2014/main" id="{41AA9A14-8906-46A9-B39C-809347D2D8EE}"/>
                </a:ext>
              </a:extLst>
            </p:cNvPr>
            <p:cNvSpPr/>
            <p:nvPr/>
          </p:nvSpPr>
          <p:spPr>
            <a:xfrm>
              <a:off x="8745072" y="826970"/>
              <a:ext cx="3306820" cy="5502111"/>
            </a:xfrm>
            <a:prstGeom prst="rect">
              <a:avLst/>
            </a:prstGeom>
            <a:noFill/>
            <a:ln w="38100">
              <a:solidFill>
                <a:srgbClr val="A6AAA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Rektangel 59">
              <a:extLst>
                <a:ext uri="{FF2B5EF4-FFF2-40B4-BE49-F238E27FC236}">
                  <a16:creationId xmlns:a16="http://schemas.microsoft.com/office/drawing/2014/main" id="{70A4A96B-8B5B-4AFC-99EE-FB3D0F01F384}"/>
                </a:ext>
              </a:extLst>
            </p:cNvPr>
            <p:cNvSpPr/>
            <p:nvPr/>
          </p:nvSpPr>
          <p:spPr>
            <a:xfrm>
              <a:off x="138949" y="826971"/>
              <a:ext cx="5056018" cy="5502111"/>
            </a:xfrm>
            <a:prstGeom prst="rect">
              <a:avLst/>
            </a:prstGeom>
            <a:noFill/>
            <a:ln w="38100">
              <a:solidFill>
                <a:srgbClr val="51A7F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72009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418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2266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faktor,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E61F173-52F0-44D1-A187-D54B526D8052}"/>
              </a:ext>
            </a:extLst>
          </p:cNvPr>
          <p:cNvSpPr/>
          <p:nvPr userDrawn="1"/>
        </p:nvSpPr>
        <p:spPr>
          <a:xfrm>
            <a:off x="783244" y="9197072"/>
            <a:ext cx="1082253" cy="2565339"/>
          </a:xfrm>
          <a:prstGeom prst="ellipse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846DE0F5-2271-4764-AF9D-8CD2B3493D8E}"/>
              </a:ext>
            </a:extLst>
          </p:cNvPr>
          <p:cNvSpPr/>
          <p:nvPr userDrawn="1"/>
        </p:nvSpPr>
        <p:spPr>
          <a:xfrm>
            <a:off x="7735703" y="9197072"/>
            <a:ext cx="1082253" cy="2565339"/>
          </a:xfrm>
          <a:prstGeom prst="ellipse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931B6E1-A8C3-464D-A8E5-22B65B5314A7}"/>
              </a:ext>
            </a:extLst>
          </p:cNvPr>
          <p:cNvSpPr/>
          <p:nvPr userDrawn="1"/>
        </p:nvSpPr>
        <p:spPr>
          <a:xfrm>
            <a:off x="7735703" y="750528"/>
            <a:ext cx="1082253" cy="2565339"/>
          </a:xfrm>
          <a:prstGeom prst="ellipse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0FF0A698-2099-441C-859A-8F0DE34AC6DE}"/>
              </a:ext>
            </a:extLst>
          </p:cNvPr>
          <p:cNvSpPr/>
          <p:nvPr userDrawn="1"/>
        </p:nvSpPr>
        <p:spPr>
          <a:xfrm>
            <a:off x="783244" y="754711"/>
            <a:ext cx="1082253" cy="2565339"/>
          </a:xfrm>
          <a:prstGeom prst="ellipse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cxnSp>
        <p:nvCxnSpPr>
          <p:cNvPr id="19" name="Rett linje 18">
            <a:extLst>
              <a:ext uri="{FF2B5EF4-FFF2-40B4-BE49-F238E27FC236}">
                <a16:creationId xmlns:a16="http://schemas.microsoft.com/office/drawing/2014/main" id="{993DA8DF-4403-4A26-971F-547FC2255D0B}"/>
              </a:ext>
            </a:extLst>
          </p:cNvPr>
          <p:cNvCxnSpPr>
            <a:cxnSpLocks/>
          </p:cNvCxnSpPr>
          <p:nvPr userDrawn="1"/>
        </p:nvCxnSpPr>
        <p:spPr>
          <a:xfrm flipV="1">
            <a:off x="1865496" y="7136390"/>
            <a:ext cx="2146434" cy="2470907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linje 19">
            <a:extLst>
              <a:ext uri="{FF2B5EF4-FFF2-40B4-BE49-F238E27FC236}">
                <a16:creationId xmlns:a16="http://schemas.microsoft.com/office/drawing/2014/main" id="{B211962B-60C0-4343-9EF5-F7DA98983D62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589272" y="7136389"/>
            <a:ext cx="2146430" cy="2470909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linje 20">
            <a:extLst>
              <a:ext uri="{FF2B5EF4-FFF2-40B4-BE49-F238E27FC236}">
                <a16:creationId xmlns:a16="http://schemas.microsoft.com/office/drawing/2014/main" id="{2776FBED-EAA1-4152-AD52-BE6B7D0B50EF}"/>
              </a:ext>
            </a:extLst>
          </p:cNvPr>
          <p:cNvCxnSpPr>
            <a:cxnSpLocks/>
          </p:cNvCxnSpPr>
          <p:nvPr userDrawn="1"/>
        </p:nvCxnSpPr>
        <p:spPr>
          <a:xfrm flipV="1">
            <a:off x="5589270" y="3194304"/>
            <a:ext cx="2146432" cy="2470914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64393706-562B-4B21-9630-47CED4FAD0F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865498" y="3194305"/>
            <a:ext cx="2146432" cy="2470912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lassholder for tekst 15">
            <a:extLst>
              <a:ext uri="{FF2B5EF4-FFF2-40B4-BE49-F238E27FC236}">
                <a16:creationId xmlns:a16="http://schemas.microsoft.com/office/drawing/2014/main" id="{B03886BA-BC15-4445-9750-8E396844DB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4597" y="1643170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4" name="Plassholder for tekst 15">
            <a:extLst>
              <a:ext uri="{FF2B5EF4-FFF2-40B4-BE49-F238E27FC236}">
                <a16:creationId xmlns:a16="http://schemas.microsoft.com/office/drawing/2014/main" id="{FDA71D69-DDA8-4C89-8DCB-17E8A40F23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45552" y="1643170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F02D1C61-B01C-4880-B70B-77E174489E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41303" y="10085531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6" name="Plassholder for tekst 15">
            <a:extLst>
              <a:ext uri="{FF2B5EF4-FFF2-40B4-BE49-F238E27FC236}">
                <a16:creationId xmlns:a16="http://schemas.microsoft.com/office/drawing/2014/main" id="{16945027-DE96-4E9E-BD39-0EFAB3521F6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84597" y="10085531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7" name="Plassholder for tekst 15">
            <a:extLst>
              <a:ext uri="{FF2B5EF4-FFF2-40B4-BE49-F238E27FC236}">
                <a16:creationId xmlns:a16="http://schemas.microsoft.com/office/drawing/2014/main" id="{92C79872-ECF3-4507-A8F7-6F20B17E593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27385" y="5952800"/>
            <a:ext cx="2146430" cy="8959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3531222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faktor,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FE61F173-52F0-44D1-A187-D54B526D8052}"/>
              </a:ext>
            </a:extLst>
          </p:cNvPr>
          <p:cNvSpPr/>
          <p:nvPr userDrawn="1"/>
        </p:nvSpPr>
        <p:spPr>
          <a:xfrm>
            <a:off x="783244" y="9197072"/>
            <a:ext cx="1082253" cy="2565339"/>
          </a:xfrm>
          <a:prstGeom prst="ellipse">
            <a:avLst/>
          </a:prstGeom>
          <a:solidFill>
            <a:srgbClr val="5358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846DE0F5-2271-4764-AF9D-8CD2B3493D8E}"/>
              </a:ext>
            </a:extLst>
          </p:cNvPr>
          <p:cNvSpPr/>
          <p:nvPr userDrawn="1"/>
        </p:nvSpPr>
        <p:spPr>
          <a:xfrm>
            <a:off x="7735703" y="9197072"/>
            <a:ext cx="1082253" cy="2565339"/>
          </a:xfrm>
          <a:prstGeom prst="ellipse">
            <a:avLst/>
          </a:prstGeom>
          <a:solidFill>
            <a:srgbClr val="5358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D931B6E1-A8C3-464D-A8E5-22B65B5314A7}"/>
              </a:ext>
            </a:extLst>
          </p:cNvPr>
          <p:cNvSpPr/>
          <p:nvPr userDrawn="1"/>
        </p:nvSpPr>
        <p:spPr>
          <a:xfrm>
            <a:off x="7735703" y="750528"/>
            <a:ext cx="1082253" cy="2565339"/>
          </a:xfrm>
          <a:prstGeom prst="ellipse">
            <a:avLst/>
          </a:prstGeom>
          <a:solidFill>
            <a:srgbClr val="5358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0FF0A698-2099-441C-859A-8F0DE34AC6DE}"/>
              </a:ext>
            </a:extLst>
          </p:cNvPr>
          <p:cNvSpPr/>
          <p:nvPr userDrawn="1"/>
        </p:nvSpPr>
        <p:spPr>
          <a:xfrm>
            <a:off x="783244" y="754711"/>
            <a:ext cx="1082253" cy="2565339"/>
          </a:xfrm>
          <a:prstGeom prst="ellipse">
            <a:avLst/>
          </a:prstGeom>
          <a:solidFill>
            <a:srgbClr val="5358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cxnSp>
        <p:nvCxnSpPr>
          <p:cNvPr id="19" name="Rett linje 18">
            <a:extLst>
              <a:ext uri="{FF2B5EF4-FFF2-40B4-BE49-F238E27FC236}">
                <a16:creationId xmlns:a16="http://schemas.microsoft.com/office/drawing/2014/main" id="{993DA8DF-4403-4A26-971F-547FC2255D0B}"/>
              </a:ext>
            </a:extLst>
          </p:cNvPr>
          <p:cNvCxnSpPr>
            <a:cxnSpLocks/>
          </p:cNvCxnSpPr>
          <p:nvPr userDrawn="1"/>
        </p:nvCxnSpPr>
        <p:spPr>
          <a:xfrm flipV="1">
            <a:off x="1865496" y="7136390"/>
            <a:ext cx="2146434" cy="2470907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tt linje 19">
            <a:extLst>
              <a:ext uri="{FF2B5EF4-FFF2-40B4-BE49-F238E27FC236}">
                <a16:creationId xmlns:a16="http://schemas.microsoft.com/office/drawing/2014/main" id="{B211962B-60C0-4343-9EF5-F7DA98983D62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589272" y="7136389"/>
            <a:ext cx="2146430" cy="2470909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tt linje 20">
            <a:extLst>
              <a:ext uri="{FF2B5EF4-FFF2-40B4-BE49-F238E27FC236}">
                <a16:creationId xmlns:a16="http://schemas.microsoft.com/office/drawing/2014/main" id="{2776FBED-EAA1-4152-AD52-BE6B7D0B50EF}"/>
              </a:ext>
            </a:extLst>
          </p:cNvPr>
          <p:cNvCxnSpPr>
            <a:cxnSpLocks/>
          </p:cNvCxnSpPr>
          <p:nvPr userDrawn="1"/>
        </p:nvCxnSpPr>
        <p:spPr>
          <a:xfrm flipV="1">
            <a:off x="5589270" y="3194304"/>
            <a:ext cx="2146432" cy="2470914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tt linje 21">
            <a:extLst>
              <a:ext uri="{FF2B5EF4-FFF2-40B4-BE49-F238E27FC236}">
                <a16:creationId xmlns:a16="http://schemas.microsoft.com/office/drawing/2014/main" id="{64393706-562B-4B21-9630-47CED4FAD0F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865498" y="3194305"/>
            <a:ext cx="2146432" cy="2470912"/>
          </a:xfrm>
          <a:prstGeom prst="line">
            <a:avLst/>
          </a:prstGeom>
          <a:ln w="19050">
            <a:solidFill>
              <a:srgbClr val="B3B6B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Plassholder for tekst 15">
            <a:extLst>
              <a:ext uri="{FF2B5EF4-FFF2-40B4-BE49-F238E27FC236}">
                <a16:creationId xmlns:a16="http://schemas.microsoft.com/office/drawing/2014/main" id="{B03886BA-BC15-4445-9750-8E396844DB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4597" y="1643170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4" name="Plassholder for tekst 15">
            <a:extLst>
              <a:ext uri="{FF2B5EF4-FFF2-40B4-BE49-F238E27FC236}">
                <a16:creationId xmlns:a16="http://schemas.microsoft.com/office/drawing/2014/main" id="{FDA71D69-DDA8-4C89-8DCB-17E8A40F23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45552" y="1643170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5" name="Plassholder for tekst 15">
            <a:extLst>
              <a:ext uri="{FF2B5EF4-FFF2-40B4-BE49-F238E27FC236}">
                <a16:creationId xmlns:a16="http://schemas.microsoft.com/office/drawing/2014/main" id="{F02D1C61-B01C-4880-B70B-77E174489E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841303" y="10085531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6" name="Plassholder for tekst 15">
            <a:extLst>
              <a:ext uri="{FF2B5EF4-FFF2-40B4-BE49-F238E27FC236}">
                <a16:creationId xmlns:a16="http://schemas.microsoft.com/office/drawing/2014/main" id="{16945027-DE96-4E9E-BD39-0EFAB3521F6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84597" y="10085531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7" name="Plassholder for tekst 15">
            <a:extLst>
              <a:ext uri="{FF2B5EF4-FFF2-40B4-BE49-F238E27FC236}">
                <a16:creationId xmlns:a16="http://schemas.microsoft.com/office/drawing/2014/main" id="{92C79872-ECF3-4507-A8F7-6F20B17E593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27385" y="5952800"/>
            <a:ext cx="2146430" cy="8959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33">
                <a:solidFill>
                  <a:schemeClr val="tx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019893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faktor,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83F73726-0A74-40DF-988C-45AF70FE0623}"/>
              </a:ext>
            </a:extLst>
          </p:cNvPr>
          <p:cNvSpPr/>
          <p:nvPr userDrawn="1"/>
        </p:nvSpPr>
        <p:spPr>
          <a:xfrm>
            <a:off x="1460755" y="3138423"/>
            <a:ext cx="2752631" cy="6524754"/>
          </a:xfrm>
          <a:prstGeom prst="ellipse">
            <a:avLst/>
          </a:prstGeom>
          <a:solidFill>
            <a:srgbClr val="00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8BB8B18-BF6B-45FC-B4AF-B03A90A9DC56}"/>
              </a:ext>
            </a:extLst>
          </p:cNvPr>
          <p:cNvSpPr/>
          <p:nvPr userDrawn="1"/>
        </p:nvSpPr>
        <p:spPr>
          <a:xfrm>
            <a:off x="5387816" y="3138423"/>
            <a:ext cx="2752631" cy="6524754"/>
          </a:xfrm>
          <a:prstGeom prst="ellipse">
            <a:avLst/>
          </a:prstGeom>
          <a:solidFill>
            <a:srgbClr val="00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82A21539-2157-43B4-816A-39FBD7FEFEFF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F1D04C10-C60D-4E41-B34F-F32C925654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F85E19ED-45C6-4196-9FE6-2423980AF8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01544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7218DA45-F781-45B9-8EA0-21A8614BC41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28605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06293265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faktor, blå, lite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83F73726-0A74-40DF-988C-45AF70FE0623}"/>
              </a:ext>
            </a:extLst>
          </p:cNvPr>
          <p:cNvSpPr/>
          <p:nvPr userDrawn="1"/>
        </p:nvSpPr>
        <p:spPr>
          <a:xfrm>
            <a:off x="1460755" y="3138423"/>
            <a:ext cx="2752631" cy="6524754"/>
          </a:xfrm>
          <a:prstGeom prst="ellipse">
            <a:avLst/>
          </a:prstGeom>
          <a:solidFill>
            <a:srgbClr val="00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8BB8B18-BF6B-45FC-B4AF-B03A90A9DC56}"/>
              </a:ext>
            </a:extLst>
          </p:cNvPr>
          <p:cNvSpPr/>
          <p:nvPr userDrawn="1"/>
        </p:nvSpPr>
        <p:spPr>
          <a:xfrm>
            <a:off x="5387816" y="3138423"/>
            <a:ext cx="2752631" cy="6524754"/>
          </a:xfrm>
          <a:prstGeom prst="ellipse">
            <a:avLst/>
          </a:prstGeom>
          <a:solidFill>
            <a:srgbClr val="001D5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F85E19ED-45C6-4196-9FE6-2423980AF8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01544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7218DA45-F781-45B9-8EA0-21A8614BC41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28605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Plassholder for tekst 15">
            <a:extLst>
              <a:ext uri="{FF2B5EF4-FFF2-40B4-BE49-F238E27FC236}">
                <a16:creationId xmlns:a16="http://schemas.microsoft.com/office/drawing/2014/main" id="{0F33A48C-DEF5-44FC-BAAC-E5B92DCA01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868" y="280618"/>
            <a:ext cx="4140518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9E2CDC97-397C-4B8D-AD17-05CE3025F5A9}"/>
              </a:ext>
            </a:extLst>
          </p:cNvPr>
          <p:cNvSpPr/>
          <p:nvPr userDrawn="1"/>
        </p:nvSpPr>
        <p:spPr>
          <a:xfrm>
            <a:off x="67868" y="1338486"/>
            <a:ext cx="4148644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</p:spTree>
    <p:extLst>
      <p:ext uri="{BB962C8B-B14F-4D97-AF65-F5344CB8AC3E}">
        <p14:creationId xmlns:p14="http://schemas.microsoft.com/office/powerpoint/2010/main" val="1499530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faktor,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83F73726-0A74-40DF-988C-45AF70FE0623}"/>
              </a:ext>
            </a:extLst>
          </p:cNvPr>
          <p:cNvSpPr/>
          <p:nvPr userDrawn="1"/>
        </p:nvSpPr>
        <p:spPr>
          <a:xfrm>
            <a:off x="1460755" y="3138423"/>
            <a:ext cx="2752631" cy="6524754"/>
          </a:xfrm>
          <a:prstGeom prst="ellipse">
            <a:avLst/>
          </a:prstGeom>
          <a:solidFill>
            <a:srgbClr val="53585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8BB8B18-BF6B-45FC-B4AF-B03A90A9DC56}"/>
              </a:ext>
            </a:extLst>
          </p:cNvPr>
          <p:cNvSpPr/>
          <p:nvPr userDrawn="1"/>
        </p:nvSpPr>
        <p:spPr>
          <a:xfrm>
            <a:off x="5387816" y="3138423"/>
            <a:ext cx="2752631" cy="6524754"/>
          </a:xfrm>
          <a:prstGeom prst="ellipse">
            <a:avLst/>
          </a:prstGeom>
          <a:solidFill>
            <a:srgbClr val="53585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82A21539-2157-43B4-816A-39FBD7FEFEFF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F1D04C10-C60D-4E41-B34F-F32C925654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F85E19ED-45C6-4196-9FE6-2423980AF8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01544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7218DA45-F781-45B9-8EA0-21A8614BC41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28605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4329150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faktor, grå, lite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Ellipse 6">
            <a:extLst>
              <a:ext uri="{FF2B5EF4-FFF2-40B4-BE49-F238E27FC236}">
                <a16:creationId xmlns:a16="http://schemas.microsoft.com/office/drawing/2014/main" id="{83F73726-0A74-40DF-988C-45AF70FE0623}"/>
              </a:ext>
            </a:extLst>
          </p:cNvPr>
          <p:cNvSpPr/>
          <p:nvPr userDrawn="1"/>
        </p:nvSpPr>
        <p:spPr>
          <a:xfrm>
            <a:off x="1460755" y="3138423"/>
            <a:ext cx="2752631" cy="6524754"/>
          </a:xfrm>
          <a:prstGeom prst="ellipse">
            <a:avLst/>
          </a:prstGeom>
          <a:solidFill>
            <a:srgbClr val="53585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0" name="Ellipse 9">
            <a:extLst>
              <a:ext uri="{FF2B5EF4-FFF2-40B4-BE49-F238E27FC236}">
                <a16:creationId xmlns:a16="http://schemas.microsoft.com/office/drawing/2014/main" id="{48BB8B18-BF6B-45FC-B4AF-B03A90A9DC56}"/>
              </a:ext>
            </a:extLst>
          </p:cNvPr>
          <p:cNvSpPr/>
          <p:nvPr userDrawn="1"/>
        </p:nvSpPr>
        <p:spPr>
          <a:xfrm>
            <a:off x="5387816" y="3138423"/>
            <a:ext cx="2752631" cy="6524754"/>
          </a:xfrm>
          <a:prstGeom prst="ellipse">
            <a:avLst/>
          </a:prstGeom>
          <a:solidFill>
            <a:srgbClr val="53585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F85E19ED-45C6-4196-9FE6-2423980AF89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01544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lassholder for tekst 15">
            <a:extLst>
              <a:ext uri="{FF2B5EF4-FFF2-40B4-BE49-F238E27FC236}">
                <a16:creationId xmlns:a16="http://schemas.microsoft.com/office/drawing/2014/main" id="{7218DA45-F781-45B9-8EA0-21A8614BC41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28605" y="5100954"/>
            <a:ext cx="871051" cy="7884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52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Plassholder for tekst 15">
            <a:extLst>
              <a:ext uri="{FF2B5EF4-FFF2-40B4-BE49-F238E27FC236}">
                <a16:creationId xmlns:a16="http://schemas.microsoft.com/office/drawing/2014/main" id="{72BB6201-463E-4C91-B6AD-723524B664E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2868" y="280618"/>
            <a:ext cx="4140518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DA0ED508-64BF-41D1-A37A-118A6E72DFD2}"/>
              </a:ext>
            </a:extLst>
          </p:cNvPr>
          <p:cNvSpPr/>
          <p:nvPr userDrawn="1"/>
        </p:nvSpPr>
        <p:spPr>
          <a:xfrm>
            <a:off x="67868" y="1338486"/>
            <a:ext cx="4148644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</p:spTree>
    <p:extLst>
      <p:ext uri="{BB962C8B-B14F-4D97-AF65-F5344CB8AC3E}">
        <p14:creationId xmlns:p14="http://schemas.microsoft.com/office/powerpoint/2010/main" val="38283933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bilde, ha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4D31BE66-1CA8-40BF-92D6-51F7D7E38216}"/>
              </a:ext>
            </a:extLst>
          </p:cNvPr>
          <p:cNvSpPr/>
          <p:nvPr userDrawn="1"/>
        </p:nvSpPr>
        <p:spPr>
          <a:xfrm>
            <a:off x="0" y="-142240"/>
            <a:ext cx="9601200" cy="1243542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D48A252-CEB9-4CCD-902B-3142E3BDF5E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766418" y="665763"/>
            <a:ext cx="2268000" cy="53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BC527C8B-0411-4C64-9E2F-541488C2D59D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6766418" y="6759239"/>
            <a:ext cx="2268000" cy="53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CC5238E-C517-4117-8694-451B4A0C25B2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4185524" y="665763"/>
            <a:ext cx="2268000" cy="53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6EED3809-8E31-4CBD-A069-522B49BC64AC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185524" y="6759239"/>
            <a:ext cx="2268000" cy="53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2414589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BDEA89BD-DE4D-4AAF-9059-947CF5AAB761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-1"/>
            <a:ext cx="3212824" cy="122118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87449A17-51EC-4540-9E42-CAB929058531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3303793" y="2816403"/>
            <a:ext cx="3212824" cy="939549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E927D5E6-FF24-4722-B936-5FC9B21FA484}"/>
              </a:ext>
            </a:extLst>
          </p:cNvPr>
          <p:cNvSpPr/>
          <p:nvPr userDrawn="1"/>
        </p:nvSpPr>
        <p:spPr>
          <a:xfrm>
            <a:off x="3303793" y="1647570"/>
            <a:ext cx="6106844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20B27E31-DB3D-4DBF-B753-CACBBC4420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08794" y="589702"/>
            <a:ext cx="6094881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42E29DA3-8038-4786-B997-474EFA2532F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08794" y="1791133"/>
            <a:ext cx="6094881" cy="7110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18"/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8334487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0F4B244B-8E1F-4C93-B7AD-15A6CD7B011D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-2"/>
            <a:ext cx="9601200" cy="765725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5073AF28-D691-4529-8B41-9E1B993D1633}"/>
              </a:ext>
            </a:extLst>
          </p:cNvPr>
          <p:cNvSpPr/>
          <p:nvPr userDrawn="1"/>
        </p:nvSpPr>
        <p:spPr>
          <a:xfrm>
            <a:off x="0" y="7657253"/>
            <a:ext cx="9601200" cy="4635928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</p:spTree>
    <p:extLst>
      <p:ext uri="{BB962C8B-B14F-4D97-AF65-F5344CB8AC3E}">
        <p14:creationId xmlns:p14="http://schemas.microsoft.com/office/powerpoint/2010/main" val="31865187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anlig med str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0A7407F3-3B1E-455B-83AB-AD652320A5A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60083" y="2396897"/>
            <a:ext cx="8281035" cy="97231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41377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bilde, h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8" hidden="1">
            <a:extLst>
              <a:ext uri="{FF2B5EF4-FFF2-40B4-BE49-F238E27FC236}">
                <a16:creationId xmlns:a16="http://schemas.microsoft.com/office/drawing/2014/main" id="{B6B04760-ECE8-4A0D-A69A-20766DBC05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kt 8" hidden="1">
                        <a:extLst>
                          <a:ext uri="{FF2B5EF4-FFF2-40B4-BE49-F238E27FC236}">
                            <a16:creationId xmlns:a16="http://schemas.microsoft.com/office/drawing/2014/main" id="{B6B04760-ECE8-4A0D-A69A-20766DBC059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0E860C1C-797A-4B2D-970E-993B430BA96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472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0" name="Rectangle 1">
            <a:extLst>
              <a:ext uri="{FF2B5EF4-FFF2-40B4-BE49-F238E27FC236}">
                <a16:creationId xmlns:a16="http://schemas.microsoft.com/office/drawing/2014/main" id="{E6624E8A-92DC-4A90-9343-5626DD82F531}"/>
              </a:ext>
            </a:extLst>
          </p:cNvPr>
          <p:cNvSpPr/>
          <p:nvPr userDrawn="1"/>
        </p:nvSpPr>
        <p:spPr>
          <a:xfrm>
            <a:off x="150684" y="6974"/>
            <a:ext cx="9299833" cy="12340615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022A1DD2-BB9D-45B0-96B0-66DF094481A0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35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lassholder for lysbildenummer 5">
            <a:extLst>
              <a:ext uri="{FF2B5EF4-FFF2-40B4-BE49-F238E27FC236}">
                <a16:creationId xmlns:a16="http://schemas.microsoft.com/office/drawing/2014/main" id="{CB8B5BF6-43C3-4446-B37D-91DA1A93AA7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73B1C1-59DE-4C7B-960B-B927626E004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D24B396B-552C-48A3-B6FE-ADB35D8AB5D6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0" y="3354460"/>
            <a:ext cx="2268252" cy="4659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0BEA06-8236-4F93-9C94-5BD71CAF9E1F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2444316" y="3354460"/>
            <a:ext cx="2268252" cy="4659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DC4F1B95-4951-4820-81C5-8AFD0E289824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888632" y="3354460"/>
            <a:ext cx="2268252" cy="4659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138844FA-79C5-4BB0-8076-8ABA04ADFEF2}"/>
              </a:ext>
            </a:extLst>
          </p:cNvPr>
          <p:cNvSpPr>
            <a:spLocks noGrp="1"/>
          </p:cNvSpPr>
          <p:nvPr>
            <p:ph type="pic" idx="18" hasCustomPrompt="1"/>
          </p:nvPr>
        </p:nvSpPr>
        <p:spPr>
          <a:xfrm>
            <a:off x="7332948" y="3354460"/>
            <a:ext cx="2268252" cy="46593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6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80048" indent="0">
              <a:buNone/>
              <a:defRPr sz="2940"/>
            </a:lvl2pPr>
            <a:lvl3pPr marL="960096" indent="0">
              <a:buNone/>
              <a:defRPr sz="2520"/>
            </a:lvl3pPr>
            <a:lvl4pPr marL="1440144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8" indent="0">
              <a:buNone/>
              <a:defRPr sz="2100"/>
            </a:lvl7pPr>
            <a:lvl8pPr marL="3360336" indent="0">
              <a:buNone/>
              <a:defRPr sz="2100"/>
            </a:lvl8pPr>
            <a:lvl9pPr marL="3840384" indent="0">
              <a:buNone/>
              <a:defRPr sz="2100"/>
            </a:lvl9pPr>
          </a:lstStyle>
          <a:p>
            <a:r>
              <a:rPr lang="en-US" altLang="ko-KR"/>
              <a:t>Your Picture Here</a:t>
            </a:r>
            <a:endParaRPr lang="ko-KR" altLang="en-US"/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910D0E55-09B3-4BCF-A765-27D359A5911F}"/>
              </a:ext>
            </a:extLst>
          </p:cNvPr>
          <p:cNvSpPr/>
          <p:nvPr userDrawn="1"/>
        </p:nvSpPr>
        <p:spPr>
          <a:xfrm>
            <a:off x="0" y="8013780"/>
            <a:ext cx="2268000" cy="3942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0"/>
          </a:p>
        </p:txBody>
      </p:sp>
      <p:sp>
        <p:nvSpPr>
          <p:cNvPr id="15" name="Rectangle 11">
            <a:extLst>
              <a:ext uri="{FF2B5EF4-FFF2-40B4-BE49-F238E27FC236}">
                <a16:creationId xmlns:a16="http://schemas.microsoft.com/office/drawing/2014/main" id="{7101C78B-F95A-4BDE-B71F-CFA3448FEC63}"/>
              </a:ext>
            </a:extLst>
          </p:cNvPr>
          <p:cNvSpPr/>
          <p:nvPr userDrawn="1"/>
        </p:nvSpPr>
        <p:spPr>
          <a:xfrm>
            <a:off x="2444400" y="8013780"/>
            <a:ext cx="2268000" cy="3942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0"/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125786D8-D51A-4A03-A156-247A4871CB63}"/>
              </a:ext>
            </a:extLst>
          </p:cNvPr>
          <p:cNvSpPr/>
          <p:nvPr userDrawn="1"/>
        </p:nvSpPr>
        <p:spPr>
          <a:xfrm>
            <a:off x="4888800" y="8013780"/>
            <a:ext cx="2268000" cy="3942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0"/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54B2CE53-7166-42CB-AC07-B0129BEA7793}"/>
              </a:ext>
            </a:extLst>
          </p:cNvPr>
          <p:cNvSpPr/>
          <p:nvPr userDrawn="1"/>
        </p:nvSpPr>
        <p:spPr>
          <a:xfrm>
            <a:off x="7333200" y="8013780"/>
            <a:ext cx="2268000" cy="39428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90"/>
          </a:p>
        </p:txBody>
      </p:sp>
      <p:sp>
        <p:nvSpPr>
          <p:cNvPr id="21" name="Plassholder for tekst 15">
            <a:extLst>
              <a:ext uri="{FF2B5EF4-FFF2-40B4-BE49-F238E27FC236}">
                <a16:creationId xmlns:a16="http://schemas.microsoft.com/office/drawing/2014/main" id="{7CD8F98C-355C-4392-87CB-43073C81340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60083" y="2124762"/>
            <a:ext cx="8281035" cy="61520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18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384655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tel og innhold">
  <p:cSld name="1_Tittel og innhold"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17"/>
          <p:cNvSpPr txBox="1">
            <a:spLocks noGrp="1"/>
          </p:cNvSpPr>
          <p:nvPr>
            <p:ph type="sldNum" idx="12"/>
          </p:nvPr>
        </p:nvSpPr>
        <p:spPr>
          <a:xfrm>
            <a:off x="9076524" y="12213022"/>
            <a:ext cx="327268" cy="6815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fld id="{00000000-1234-1234-1234-123412341234}" type="slidenum">
              <a:rPr lang="no-NO" smtClean="0"/>
              <a:pPr/>
              <a:t>‹#›</a:t>
            </a:fld>
            <a:endParaRPr lang="no-NO"/>
          </a:p>
        </p:txBody>
      </p:sp>
      <p:sp>
        <p:nvSpPr>
          <p:cNvPr id="92" name="Google Shape;92;p17"/>
          <p:cNvSpPr txBox="1">
            <a:spLocks noGrp="1"/>
          </p:cNvSpPr>
          <p:nvPr>
            <p:ph type="body" idx="1"/>
          </p:nvPr>
        </p:nvSpPr>
        <p:spPr>
          <a:xfrm>
            <a:off x="660083" y="3705847"/>
            <a:ext cx="8281035" cy="8414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60045" marR="0" lvl="0" indent="-320040" algn="l" rtl="0">
              <a:lnSpc>
                <a:spcPct val="90000"/>
              </a:lnSpc>
              <a:spcBef>
                <a:spcPts val="788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205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720090" marR="0" lvl="1" indent="-300038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9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080135" marR="0" lvl="2" indent="-280035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75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440180" marR="0" lvl="3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1800225" marR="0" lvl="4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160270" marR="0" lvl="5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2520315" marR="0" lvl="6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2880360" marR="0" lvl="7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3240405" marR="0" lvl="8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93" name="Google Shape;93;p17"/>
          <p:cNvSpPr txBox="1">
            <a:spLocks noGrp="1"/>
          </p:cNvSpPr>
          <p:nvPr>
            <p:ph type="body" idx="2"/>
          </p:nvPr>
        </p:nvSpPr>
        <p:spPr>
          <a:xfrm>
            <a:off x="665083" y="681567"/>
            <a:ext cx="8281035" cy="13186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60045" marR="0" lvl="0" indent="-180023" algn="l" rtl="0">
              <a:lnSpc>
                <a:spcPct val="90000"/>
              </a:lnSpc>
              <a:spcBef>
                <a:spcPts val="788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315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720090" marR="0" lvl="1" indent="-300038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1890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080135" marR="0" lvl="2" indent="-280035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1575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440180" marR="0" lvl="3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1800225" marR="0" lvl="4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160270" marR="0" lvl="5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2520315" marR="0" lvl="6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2880360" marR="0" lvl="7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3240405" marR="0" lvl="8" indent="-270034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418" b="0" i="0" u="none" strike="noStrike" cap="none">
                <a:solidFill>
                  <a:schemeClr val="dk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  <p:sp>
        <p:nvSpPr>
          <p:cNvPr id="94" name="Google Shape;94;p17"/>
          <p:cNvSpPr/>
          <p:nvPr/>
        </p:nvSpPr>
        <p:spPr>
          <a:xfrm>
            <a:off x="660082" y="2193707"/>
            <a:ext cx="8296748" cy="693463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txBody>
          <a:bodyPr spcFirstLastPara="1" wrap="square" lIns="71997" tIns="35989" rIns="71997" bIns="35989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418" b="0" i="0" u="none" strike="noStrike" cap="none">
              <a:solidFill>
                <a:schemeClr val="lt1"/>
              </a:solidFill>
              <a:latin typeface="Century Gothic"/>
              <a:ea typeface="Century Gothic"/>
              <a:cs typeface="Century Gothic"/>
              <a:sym typeface="Century Gothic"/>
            </a:endParaRPr>
          </a:p>
        </p:txBody>
      </p:sp>
      <p:sp>
        <p:nvSpPr>
          <p:cNvPr id="95" name="Google Shape;95;p17"/>
          <p:cNvSpPr txBox="1">
            <a:spLocks noGrp="1"/>
          </p:cNvSpPr>
          <p:nvPr>
            <p:ph type="body" idx="3"/>
          </p:nvPr>
        </p:nvSpPr>
        <p:spPr>
          <a:xfrm flipH="1">
            <a:off x="675795" y="2193707"/>
            <a:ext cx="8281035" cy="693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360045" marR="0" lvl="0" indent="-180023" algn="l" rtl="0">
              <a:lnSpc>
                <a:spcPct val="90000"/>
              </a:lnSpc>
              <a:spcBef>
                <a:spcPts val="788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None/>
              <a:defRPr sz="1575" b="0" i="0" u="none" strike="noStrike" cap="none">
                <a:solidFill>
                  <a:schemeClr val="lt1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1pPr>
            <a:lvl2pPr marL="720090" marR="0" lvl="1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1575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2pPr>
            <a:lvl3pPr marL="1080135" marR="0" lvl="2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418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3pPr>
            <a:lvl4pPr marL="1440180" marR="0" lvl="3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6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4pPr>
            <a:lvl5pPr marL="1800225" marR="0" lvl="4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6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5pPr>
            <a:lvl6pPr marL="2160270" marR="0" lvl="5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6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6pPr>
            <a:lvl7pPr marL="2520315" marR="0" lvl="6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6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7pPr>
            <a:lvl8pPr marL="2880360" marR="0" lvl="7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6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8pPr>
            <a:lvl9pPr marL="3240405" marR="0" lvl="8" indent="-180023" algn="l" rtl="0">
              <a:lnSpc>
                <a:spcPct val="90000"/>
              </a:lnSpc>
              <a:spcBef>
                <a:spcPts val="394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260" b="0" i="0" u="none" strike="noStrike" cap="none">
                <a:solidFill>
                  <a:srgbClr val="888888"/>
                </a:solidFill>
                <a:latin typeface="Century Gothic"/>
                <a:ea typeface="Century Gothic"/>
                <a:cs typeface="Century Gothic"/>
                <a:sym typeface="Century Gothic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802639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24FB57B-4B7A-492A-9BD7-2E1D8C363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24FB57B-4B7A-492A-9BD7-2E1D8C363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79C45148-8BB8-4CDC-9093-7BA0C02BD0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472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0A7407F3-3B1E-455B-83AB-AD652320A5A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60083" y="2324262"/>
            <a:ext cx="8281035" cy="97957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681567"/>
            <a:ext cx="8281035" cy="131868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9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6C2A8472-154C-4AE9-9E85-43DC421D792E}"/>
              </a:ext>
            </a:extLst>
          </p:cNvPr>
          <p:cNvSpPr/>
          <p:nvPr userDrawn="1"/>
        </p:nvSpPr>
        <p:spPr>
          <a:xfrm>
            <a:off x="0" y="12264862"/>
            <a:ext cx="9601201" cy="536739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pic>
        <p:nvPicPr>
          <p:cNvPr id="11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5F4538CE-C465-4648-98DA-2B1BFFE54D40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9412325" y="12312183"/>
            <a:ext cx="188876" cy="54225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52D491B9-F530-4733-BF44-B7BAF250321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7" r="35265" b="1380"/>
          <a:stretch/>
        </p:blipFill>
        <p:spPr bwMode="auto">
          <a:xfrm>
            <a:off x="8956832" y="12201116"/>
            <a:ext cx="225661" cy="62792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D0E39134-79E7-46AF-BC7F-2AC7EA867937}"/>
              </a:ext>
            </a:extLst>
          </p:cNvPr>
          <p:cNvSpPr txBox="1">
            <a:spLocks/>
          </p:cNvSpPr>
          <p:nvPr userDrawn="1"/>
        </p:nvSpPr>
        <p:spPr>
          <a:xfrm>
            <a:off x="9069663" y="12167246"/>
            <a:ext cx="327268" cy="681567"/>
          </a:xfrm>
          <a:prstGeom prst="rect">
            <a:avLst/>
          </a:prstGeom>
        </p:spPr>
        <p:txBody>
          <a:bodyPr vert="horz" lIns="72009" tIns="36005" rIns="72009" bIns="36005" rtlCol="0" anchor="ctr"/>
          <a:lstStyle>
            <a:defPPr>
              <a:defRPr lang="nb-NO"/>
            </a:defPPr>
            <a:lvl1pPr marL="0" algn="r" defTabSz="914400" rtl="0" eaLnBrk="1" latinLnBrk="0" hangingPunct="1"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9C6B102-0C1B-46C6-A6E4-6D0389F9ACE3}" type="slidenum">
              <a:rPr lang="nb-NO" sz="1260" smtClean="0"/>
              <a:pPr/>
              <a:t>‹#›</a:t>
            </a:fld>
            <a:endParaRPr lang="nb-NO" sz="1260"/>
          </a:p>
        </p:txBody>
      </p:sp>
      <p:cxnSp>
        <p:nvCxnSpPr>
          <p:cNvPr id="3" name="Rett linje 2">
            <a:extLst>
              <a:ext uri="{FF2B5EF4-FFF2-40B4-BE49-F238E27FC236}">
                <a16:creationId xmlns:a16="http://schemas.microsoft.com/office/drawing/2014/main" id="{E05E1707-99B1-4FE2-B2B9-FB6EFACA3196}"/>
              </a:ext>
            </a:extLst>
          </p:cNvPr>
          <p:cNvCxnSpPr/>
          <p:nvPr userDrawn="1"/>
        </p:nvCxnSpPr>
        <p:spPr>
          <a:xfrm>
            <a:off x="660083" y="2000251"/>
            <a:ext cx="8296750" cy="0"/>
          </a:xfrm>
          <a:prstGeom prst="line">
            <a:avLst/>
          </a:prstGeom>
          <a:ln>
            <a:solidFill>
              <a:srgbClr val="001D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83897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24FB57B-4B7A-492A-9BD7-2E1D8C363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24FB57B-4B7A-492A-9BD7-2E1D8C363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79C45148-8BB8-4CDC-9093-7BA0C02BD0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472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FD4067E5-86F7-48F4-B4BB-9CE1EF39A387}"/>
              </a:ext>
            </a:extLst>
          </p:cNvPr>
          <p:cNvSpPr/>
          <p:nvPr userDrawn="1"/>
        </p:nvSpPr>
        <p:spPr>
          <a:xfrm>
            <a:off x="0" y="10598914"/>
            <a:ext cx="9601200" cy="22301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>
              <a:solidFill>
                <a:schemeClr val="bg1"/>
              </a:solidFill>
            </a:endParaRP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5F88B20D-CF4A-43A4-8A79-94E1E446D24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52444" y="681567"/>
            <a:ext cx="5393674" cy="131868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9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pic>
        <p:nvPicPr>
          <p:cNvPr id="12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52D491B9-F530-4733-BF44-B7BAF250321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7" r="35265" b="1380"/>
          <a:stretch/>
        </p:blipFill>
        <p:spPr bwMode="auto">
          <a:xfrm>
            <a:off x="8956832" y="12201116"/>
            <a:ext cx="225661" cy="62792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D0E39134-79E7-46AF-BC7F-2AC7EA867937}"/>
              </a:ext>
            </a:extLst>
          </p:cNvPr>
          <p:cNvSpPr txBox="1">
            <a:spLocks/>
          </p:cNvSpPr>
          <p:nvPr userDrawn="1"/>
        </p:nvSpPr>
        <p:spPr>
          <a:xfrm>
            <a:off x="9069663" y="12167246"/>
            <a:ext cx="327268" cy="681567"/>
          </a:xfrm>
          <a:prstGeom prst="rect">
            <a:avLst/>
          </a:prstGeom>
        </p:spPr>
        <p:txBody>
          <a:bodyPr vert="horz" lIns="72009" tIns="36005" rIns="72009" bIns="36005" rtlCol="0" anchor="ctr"/>
          <a:lstStyle>
            <a:defPPr>
              <a:defRPr lang="nb-NO"/>
            </a:defPPr>
            <a:lvl1pPr marL="0" algn="r" defTabSz="914400" rtl="0" eaLnBrk="1" latinLnBrk="0" hangingPunct="1"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9C6B102-0C1B-46C6-A6E4-6D0389F9ACE3}" type="slidenum">
              <a:rPr lang="nb-NO" sz="1260" smtClean="0">
                <a:solidFill>
                  <a:schemeClr val="tx1"/>
                </a:solidFill>
              </a:rPr>
              <a:pPr/>
              <a:t>‹#›</a:t>
            </a:fld>
            <a:endParaRPr lang="nb-NO" sz="126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2818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A364336-9C35-426C-8ED8-147C943EB0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A364336-9C35-426C-8ED8-147C943EB0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E34642E-F90A-40C4-A8A8-695CC9D52D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832F76B-3291-4E79-85E5-D1B1485317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E0B176-5F4A-44D1-9AFA-D4E7C525683C}" type="datetime1">
              <a:rPr lang="nb-NO" smtClean="0"/>
              <a:t>15.11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01097E4-2F63-4996-996C-B528A7FE8E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1B1DD0E-DF22-4C6C-AF0A-CF3D7A8CDC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69662" y="12185155"/>
            <a:ext cx="327268" cy="681567"/>
          </a:xfrm>
          <a:prstGeom prst="rect">
            <a:avLst/>
          </a:prstGeom>
        </p:spPr>
        <p:txBody>
          <a:bodyPr/>
          <a:lstStyle>
            <a:lvl1pPr>
              <a:defRPr sz="1260"/>
            </a:lvl1pPr>
          </a:lstStyle>
          <a:p>
            <a:fld id="{FA24B006-C900-4293-AED1-8182BF22BE7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7829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D143BFA-6426-4106-9018-3704EF0B5C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489402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24FB57B-4B7A-492A-9BD7-2E1D8C3632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24FB57B-4B7A-492A-9BD7-2E1D8C3632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79C45148-8BB8-4CDC-9093-7BA0C02BD06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472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703BEDA-D1A7-40F7-A721-C1EAC5C24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89664" y="12185155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pic>
        <p:nvPicPr>
          <p:cNvPr id="5" name="Bilde 4" descr="Et bilde som inneholder bærbar PC, person, innendørs, datamaskin&#10;&#10;Automatisk generert beskrivelse">
            <a:extLst>
              <a:ext uri="{FF2B5EF4-FFF2-40B4-BE49-F238E27FC236}">
                <a16:creationId xmlns:a16="http://schemas.microsoft.com/office/drawing/2014/main" id="{A1C35DD4-EE52-4523-AED8-3F089E77CA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76" t="6433" r="30649"/>
          <a:stretch/>
        </p:blipFill>
        <p:spPr>
          <a:xfrm>
            <a:off x="6387896" y="1"/>
            <a:ext cx="3213305" cy="1228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02446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3150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C3BE5527-4CD1-4ED9-9597-8EEE7542D489}"/>
              </a:ext>
            </a:extLst>
          </p:cNvPr>
          <p:cNvSpPr txBox="1"/>
          <p:nvPr userDrawn="1"/>
        </p:nvSpPr>
        <p:spPr>
          <a:xfrm>
            <a:off x="900112" y="8285082"/>
            <a:ext cx="7134150" cy="2720739"/>
          </a:xfrm>
          <a:prstGeom prst="rect">
            <a:avLst/>
          </a:prstGeom>
        </p:spPr>
        <p:txBody>
          <a:bodyPr vert="horz" wrap="square" lIns="72009" tIns="36005" rIns="72009" bIns="36005" rtlCol="0" anchor="ctr">
            <a:normAutofit/>
          </a:bodyPr>
          <a:lstStyle/>
          <a:p>
            <a:pPr algn="ctr"/>
            <a:endParaRPr lang="nb-NO" sz="1103"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68279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90" y="2095078"/>
            <a:ext cx="8161020" cy="4456853"/>
          </a:xfrm>
        </p:spPr>
        <p:txBody>
          <a:bodyPr anchor="b"/>
          <a:lstStyle>
            <a:lvl1pPr algn="ctr">
              <a:defRPr sz="63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0150" y="6723804"/>
            <a:ext cx="7200900" cy="3090756"/>
          </a:xfrm>
        </p:spPr>
        <p:txBody>
          <a:bodyPr/>
          <a:lstStyle>
            <a:lvl1pPr marL="0" indent="0" algn="ctr">
              <a:buNone/>
              <a:defRPr sz="2520"/>
            </a:lvl1pPr>
            <a:lvl2pPr marL="480060" indent="0" algn="ctr">
              <a:buNone/>
              <a:defRPr sz="2100"/>
            </a:lvl2pPr>
            <a:lvl3pPr marL="960120" indent="0" algn="ctr">
              <a:buNone/>
              <a:defRPr sz="1890"/>
            </a:lvl3pPr>
            <a:lvl4pPr marL="1440180" indent="0" algn="ctr">
              <a:buNone/>
              <a:defRPr sz="1680"/>
            </a:lvl4pPr>
            <a:lvl5pPr marL="1920240" indent="0" algn="ctr">
              <a:buNone/>
              <a:defRPr sz="1680"/>
            </a:lvl5pPr>
            <a:lvl6pPr marL="2400300" indent="0" algn="ctr">
              <a:buNone/>
              <a:defRPr sz="1680"/>
            </a:lvl6pPr>
            <a:lvl7pPr marL="2880360" indent="0" algn="ctr">
              <a:buNone/>
              <a:defRPr sz="1680"/>
            </a:lvl7pPr>
            <a:lvl8pPr marL="3360420" indent="0" algn="ctr">
              <a:buNone/>
              <a:defRPr sz="1680"/>
            </a:lvl8pPr>
            <a:lvl9pPr marL="3840480" indent="0" algn="ctr">
              <a:buNone/>
              <a:defRPr sz="168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7596B-7DDB-4E31-A2D5-1645F93B9264}" type="datetimeFigureOut">
              <a:rPr lang="nb-NO" smtClean="0"/>
              <a:t>15.1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3D32C9-4F30-45DB-BB61-14F82FCCBD7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98533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3150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4" name="Plassholder for innhold 2">
            <a:extLst>
              <a:ext uri="{FF2B5EF4-FFF2-40B4-BE49-F238E27FC236}">
                <a16:creationId xmlns:a16="http://schemas.microsoft.com/office/drawing/2014/main" id="{DE5D53E9-79D4-42CA-B02E-EC0DCD4F96F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60083" y="3705847"/>
            <a:ext cx="8281035" cy="8414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tekst 15">
            <a:extLst>
              <a:ext uri="{FF2B5EF4-FFF2-40B4-BE49-F238E27FC236}">
                <a16:creationId xmlns:a16="http://schemas.microsoft.com/office/drawing/2014/main" id="{BE7A9985-E451-4DF4-AC68-67E465E7AB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681567"/>
            <a:ext cx="8281035" cy="13186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5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E440BBAA-2723-48D0-B8CE-0E89D1283016}"/>
              </a:ext>
            </a:extLst>
          </p:cNvPr>
          <p:cNvSpPr/>
          <p:nvPr userDrawn="1"/>
        </p:nvSpPr>
        <p:spPr>
          <a:xfrm>
            <a:off x="660082" y="2193707"/>
            <a:ext cx="8296748" cy="693463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18"/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3F7091D8-D41F-44C1-914D-E4A6665E4D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rot="10800000" flipV="1">
            <a:off x="675795" y="2193707"/>
            <a:ext cx="8281035" cy="693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75">
                <a:solidFill>
                  <a:schemeClr val="bg1"/>
                </a:solidFill>
              </a:defRPr>
            </a:lvl1pPr>
            <a:lvl2pPr marL="360045" indent="0">
              <a:buNone/>
              <a:defRPr sz="1575">
                <a:solidFill>
                  <a:schemeClr val="tx1">
                    <a:tint val="75000"/>
                  </a:schemeClr>
                </a:solidFill>
              </a:defRPr>
            </a:lvl2pPr>
            <a:lvl3pPr marL="720090" indent="0">
              <a:buNone/>
              <a:defRPr sz="1418">
                <a:solidFill>
                  <a:schemeClr val="tx1">
                    <a:tint val="75000"/>
                  </a:schemeClr>
                </a:solidFill>
              </a:defRPr>
            </a:lvl3pPr>
            <a:lvl4pPr marL="108013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4pPr>
            <a:lvl5pPr marL="1440180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5pPr>
            <a:lvl6pPr marL="180022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6pPr>
            <a:lvl7pPr marL="2160270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7pPr>
            <a:lvl8pPr marL="2520315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8pPr>
            <a:lvl9pPr marL="2880360" indent="0">
              <a:buNone/>
              <a:defRPr sz="12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7962713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, sammenligning m/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2545441-C841-4663-AE34-F0C10C6FEAB1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D30BA4C1-11DB-4347-A4A2-51E620AE2A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lassholder for tekst 2">
            <a:extLst>
              <a:ext uri="{FF2B5EF4-FFF2-40B4-BE49-F238E27FC236}">
                <a16:creationId xmlns:a16="http://schemas.microsoft.com/office/drawing/2014/main" id="{F812D254-5E45-4875-BD85-3D9B58DF76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2579" y="1918971"/>
            <a:ext cx="4135517" cy="1537969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Plassholder for innhold 3">
            <a:extLst>
              <a:ext uri="{FF2B5EF4-FFF2-40B4-BE49-F238E27FC236}">
                <a16:creationId xmlns:a16="http://schemas.microsoft.com/office/drawing/2014/main" id="{34A47BD3-4438-4641-92B3-F5A1B2B166F3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42579" y="3456939"/>
            <a:ext cx="4135517" cy="866309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6" name="Plassholder for tekst 4">
            <a:extLst>
              <a:ext uri="{FF2B5EF4-FFF2-40B4-BE49-F238E27FC236}">
                <a16:creationId xmlns:a16="http://schemas.microsoft.com/office/drawing/2014/main" id="{A08E1D46-1618-424A-BCE1-4BA8A4D6551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800600" y="1918969"/>
            <a:ext cx="4135517" cy="1537969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lassholder for innhold 5">
            <a:extLst>
              <a:ext uri="{FF2B5EF4-FFF2-40B4-BE49-F238E27FC236}">
                <a16:creationId xmlns:a16="http://schemas.microsoft.com/office/drawing/2014/main" id="{B8319295-1EAD-4E85-84CC-5C79C71ADD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800600" y="3412962"/>
            <a:ext cx="4135517" cy="870706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886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, sammenligning u/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2545441-C841-4663-AE34-F0C10C6FEAB1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D30BA4C1-11DB-4347-A4A2-51E620AE2A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Plassholder for innhold 3">
            <a:extLst>
              <a:ext uri="{FF2B5EF4-FFF2-40B4-BE49-F238E27FC236}">
                <a16:creationId xmlns:a16="http://schemas.microsoft.com/office/drawing/2014/main" id="{34A47BD3-4438-4641-92B3-F5A1B2B166F3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42579" y="2225562"/>
            <a:ext cx="4135517" cy="989447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7" name="Plassholder for innhold 5">
            <a:extLst>
              <a:ext uri="{FF2B5EF4-FFF2-40B4-BE49-F238E27FC236}">
                <a16:creationId xmlns:a16="http://schemas.microsoft.com/office/drawing/2014/main" id="{B8319295-1EAD-4E85-84CC-5C79C71ADD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800600" y="2225562"/>
            <a:ext cx="4135517" cy="9894470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05249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, tredeling m/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tekst 2">
            <a:extLst>
              <a:ext uri="{FF2B5EF4-FFF2-40B4-BE49-F238E27FC236}">
                <a16:creationId xmlns:a16="http://schemas.microsoft.com/office/drawing/2014/main" id="{5346DA28-C698-42A6-8818-C76F7DE6806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2580" y="1918971"/>
            <a:ext cx="2766960" cy="1537969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DC748606-12CF-49C7-9680-B7BE0AA221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580" y="3456939"/>
            <a:ext cx="2766960" cy="866309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6" name="Plassholder for tekst 4">
            <a:extLst>
              <a:ext uri="{FF2B5EF4-FFF2-40B4-BE49-F238E27FC236}">
                <a16:creationId xmlns:a16="http://schemas.microsoft.com/office/drawing/2014/main" id="{95EB6407-14E6-4332-9FE4-6864FB722A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3432043" y="1918969"/>
            <a:ext cx="2766960" cy="1537969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Plassholder for innhold 5">
            <a:extLst>
              <a:ext uri="{FF2B5EF4-FFF2-40B4-BE49-F238E27FC236}">
                <a16:creationId xmlns:a16="http://schemas.microsoft.com/office/drawing/2014/main" id="{63976BCD-CFF8-4114-BA23-7B13976A10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432043" y="3456938"/>
            <a:ext cx="2766960" cy="875608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2545441-C841-4663-AE34-F0C10C6FEAB1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D30BA4C1-11DB-4347-A4A2-51E620AE2A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5" name="Plassholder for tekst 4">
            <a:extLst>
              <a:ext uri="{FF2B5EF4-FFF2-40B4-BE49-F238E27FC236}">
                <a16:creationId xmlns:a16="http://schemas.microsoft.com/office/drawing/2014/main" id="{94E6D186-EA92-4BEA-9276-ACD27376DAC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191660" y="2012106"/>
            <a:ext cx="2766960" cy="1537969"/>
          </a:xfrm>
        </p:spPr>
        <p:txBody>
          <a:bodyPr anchor="b"/>
          <a:lstStyle>
            <a:lvl1pPr marL="0" indent="0">
              <a:buNone/>
              <a:defRPr sz="1890" b="1"/>
            </a:lvl1pPr>
            <a:lvl2pPr marL="360045" indent="0">
              <a:buNone/>
              <a:defRPr sz="1575" b="1"/>
            </a:lvl2pPr>
            <a:lvl3pPr marL="720090" indent="0">
              <a:buNone/>
              <a:defRPr sz="1418" b="1"/>
            </a:lvl3pPr>
            <a:lvl4pPr marL="1080135" indent="0">
              <a:buNone/>
              <a:defRPr sz="1260" b="1"/>
            </a:lvl4pPr>
            <a:lvl5pPr marL="1440180" indent="0">
              <a:buNone/>
              <a:defRPr sz="1260" b="1"/>
            </a:lvl5pPr>
            <a:lvl6pPr marL="1800225" indent="0">
              <a:buNone/>
              <a:defRPr sz="1260" b="1"/>
            </a:lvl6pPr>
            <a:lvl7pPr marL="2160270" indent="0">
              <a:buNone/>
              <a:defRPr sz="1260" b="1"/>
            </a:lvl7pPr>
            <a:lvl8pPr marL="2520315" indent="0">
              <a:buNone/>
              <a:defRPr sz="1260" b="1"/>
            </a:lvl8pPr>
            <a:lvl9pPr marL="2880360" indent="0">
              <a:buNone/>
              <a:defRPr sz="126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8" name="Plassholder for innhold 5">
            <a:extLst>
              <a:ext uri="{FF2B5EF4-FFF2-40B4-BE49-F238E27FC236}">
                <a16:creationId xmlns:a16="http://schemas.microsoft.com/office/drawing/2014/main" id="{5FC4BD2F-8AA4-4AA6-A1F3-48C3101F6CE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1660" y="3550075"/>
            <a:ext cx="2766960" cy="8756082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2607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, tredeling u/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79B107D-1F19-4388-B35C-5DC18D8CEA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0" y="2964"/>
          <a:ext cx="1251" cy="2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79B107D-1F19-4388-B35C-5DC18D8CEA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50" y="2964"/>
                        <a:ext cx="1251" cy="2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96B70618-4219-4FFC-B72D-F71741F9B24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2835" b="0" i="0" baseline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558466-7980-4C87-A401-3DC6A2BD5A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76524" y="12213022"/>
            <a:ext cx="327268" cy="681567"/>
          </a:xfrm>
        </p:spPr>
        <p:txBody>
          <a:bodyPr/>
          <a:lstStyle/>
          <a:p>
            <a:fld id="{B9C6B102-0C1B-46C6-A6E4-6D0389F9ACE3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DC748606-12CF-49C7-9680-B7BE0AA221D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580" y="2296162"/>
            <a:ext cx="2766960" cy="9823871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7" name="Plassholder for innhold 5">
            <a:extLst>
              <a:ext uri="{FF2B5EF4-FFF2-40B4-BE49-F238E27FC236}">
                <a16:creationId xmlns:a16="http://schemas.microsoft.com/office/drawing/2014/main" id="{63976BCD-CFF8-4114-BA23-7B13976A10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432043" y="2296162"/>
            <a:ext cx="2766960" cy="9916857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32545441-C841-4663-AE34-F0C10C6FEAB1}"/>
              </a:ext>
            </a:extLst>
          </p:cNvPr>
          <p:cNvSpPr/>
          <p:nvPr userDrawn="1"/>
        </p:nvSpPr>
        <p:spPr>
          <a:xfrm>
            <a:off x="660083" y="2012106"/>
            <a:ext cx="8297287" cy="100800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4" name="Plassholder for tekst 15">
            <a:extLst>
              <a:ext uri="{FF2B5EF4-FFF2-40B4-BE49-F238E27FC236}">
                <a16:creationId xmlns:a16="http://schemas.microsoft.com/office/drawing/2014/main" id="{D30BA4C1-11DB-4347-A4A2-51E620AE2A6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5083" y="954238"/>
            <a:ext cx="8281035" cy="1046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8" name="Plassholder for innhold 5">
            <a:extLst>
              <a:ext uri="{FF2B5EF4-FFF2-40B4-BE49-F238E27FC236}">
                <a16:creationId xmlns:a16="http://schemas.microsoft.com/office/drawing/2014/main" id="{5FC4BD2F-8AA4-4AA6-A1F3-48C3101F6CE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91660" y="2296164"/>
            <a:ext cx="2766960" cy="10009994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39034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12" hidden="1">
            <a:extLst>
              <a:ext uri="{FF2B5EF4-FFF2-40B4-BE49-F238E27FC236}">
                <a16:creationId xmlns:a16="http://schemas.microsoft.com/office/drawing/2014/main" id="{ED6A4C41-16F5-4ACA-B064-BBEEE8B633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4" name="Objekt 12" hidden="1">
                        <a:extLst>
                          <a:ext uri="{FF2B5EF4-FFF2-40B4-BE49-F238E27FC236}">
                            <a16:creationId xmlns:a16="http://schemas.microsoft.com/office/drawing/2014/main" id="{ED6A4C41-16F5-4ACA-B064-BBEEE8B633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2A1E91DD-AEA2-42E3-8DB1-FC6BC5321D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46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AE723BB-E41A-4627-8AB8-77F205C91037}"/>
              </a:ext>
            </a:extLst>
          </p:cNvPr>
          <p:cNvSpPr/>
          <p:nvPr userDrawn="1"/>
        </p:nvSpPr>
        <p:spPr>
          <a:xfrm>
            <a:off x="0" y="12283019"/>
            <a:ext cx="9601200" cy="536362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pic>
        <p:nvPicPr>
          <p:cNvPr id="7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44444667-CD43-485E-8BAD-2266CA426F6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427" y="12330431"/>
            <a:ext cx="188773" cy="542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6368C6F3-E658-47C7-84FA-E877C468E8E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6" r="35265" b="1379"/>
          <a:stretch>
            <a:fillRect/>
          </a:stretch>
        </p:blipFill>
        <p:spPr bwMode="auto">
          <a:xfrm>
            <a:off x="8957370" y="12217824"/>
            <a:ext cx="225028" cy="628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67770A7-D5B9-475F-87C2-ABE051A8CC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67770A7-D5B9-475F-87C2-ABE051A8CCB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 hidden="1">
            <a:extLst>
              <a:ext uri="{FF2B5EF4-FFF2-40B4-BE49-F238E27FC236}">
                <a16:creationId xmlns:a16="http://schemas.microsoft.com/office/drawing/2014/main" id="{B66A100B-6199-4A5D-9FD8-72753636DCB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150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4" name="Plassholder for innhold 2">
            <a:extLst>
              <a:ext uri="{FF2B5EF4-FFF2-40B4-BE49-F238E27FC236}">
                <a16:creationId xmlns:a16="http://schemas.microsoft.com/office/drawing/2014/main" id="{DE5D53E9-79D4-42CA-B02E-EC0DCD4F96F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017648" y="2306105"/>
            <a:ext cx="4386027" cy="95116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68C1CA82-2EB8-4C70-A80C-F42EEEE5DFE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37CC03-23E7-47F9-98FF-AC0791C0D1FF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49C6824F-1B6F-4BD0-BB7A-E3B3D48C4133}"/>
              </a:ext>
            </a:extLst>
          </p:cNvPr>
          <p:cNvSpPr/>
          <p:nvPr userDrawn="1"/>
        </p:nvSpPr>
        <p:spPr>
          <a:xfrm>
            <a:off x="0" y="2"/>
            <a:ext cx="4800600" cy="12330431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833A3060-2958-4F8C-A5B0-A7B1B8D09C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17648" y="681567"/>
            <a:ext cx="4394779" cy="13186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35"/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38986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45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kt 12" hidden="1">
            <a:extLst>
              <a:ext uri="{FF2B5EF4-FFF2-40B4-BE49-F238E27FC236}">
                <a16:creationId xmlns:a16="http://schemas.microsoft.com/office/drawing/2014/main" id="{DF5D3E70-C81B-4E7D-807A-2EF9D2F615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2484437127"/>
              </p:ext>
            </p:extLst>
          </p:nvPr>
        </p:nvGraphicFramePr>
        <p:xfrm>
          <a:off x="1251" y="2965"/>
          <a:ext cx="1250" cy="29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473" imgH="473" progId="TCLayout.ActiveDocument.1">
                  <p:embed/>
                </p:oleObj>
              </mc:Choice>
              <mc:Fallback>
                <p:oleObj name="think-cell Slide" r:id="rId42" imgW="473" imgH="473" progId="TCLayout.ActiveDocument.1">
                  <p:embed/>
                  <p:pic>
                    <p:nvPicPr>
                      <p:cNvPr id="1026" name="Objekt 12" hidden="1">
                        <a:extLst>
                          <a:ext uri="{FF2B5EF4-FFF2-40B4-BE49-F238E27FC236}">
                            <a16:creationId xmlns:a16="http://schemas.microsoft.com/office/drawing/2014/main" id="{DF5D3E70-C81B-4E7D-807A-2EF9D2F6156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1" y="2965"/>
                        <a:ext cx="1250" cy="29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ktangel 11" hidden="1">
            <a:extLst>
              <a:ext uri="{FF2B5EF4-FFF2-40B4-BE49-F238E27FC236}">
                <a16:creationId xmlns:a16="http://schemas.microsoft.com/office/drawing/2014/main" id="{7E9F0EC4-3A4C-4AF6-BDAF-93D231A26CAD}"/>
              </a:ext>
            </a:extLst>
          </p:cNvPr>
          <p:cNvSpPr/>
          <p:nvPr userDrawn="1">
            <p:custDataLst>
              <p:tags r:id="rId41"/>
            </p:custDataLst>
          </p:nvPr>
        </p:nvSpPr>
        <p:spPr>
          <a:xfrm>
            <a:off x="0" y="0"/>
            <a:ext cx="125016" cy="2963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lnSpc>
                <a:spcPct val="90000"/>
              </a:lnSpc>
              <a:defRPr/>
            </a:pPr>
            <a:endParaRPr lang="nb-NO" sz="3465"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0057E47-13A2-4BD3-A7A4-421D86E6153A}"/>
              </a:ext>
            </a:extLst>
          </p:cNvPr>
          <p:cNvSpPr/>
          <p:nvPr userDrawn="1"/>
        </p:nvSpPr>
        <p:spPr>
          <a:xfrm>
            <a:off x="0" y="12283019"/>
            <a:ext cx="9601200" cy="536362"/>
          </a:xfrm>
          <a:prstGeom prst="rect">
            <a:avLst/>
          </a:prstGeom>
          <a:solidFill>
            <a:srgbClr val="001D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nb-NO" sz="1418"/>
          </a:p>
        </p:txBody>
      </p:sp>
      <p:pic>
        <p:nvPicPr>
          <p:cNvPr id="1029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2AB01B7C-4406-4516-8C64-2A70F500F88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2427" y="12330431"/>
            <a:ext cx="188773" cy="542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2" descr="O:\0 Administrasjonen\4 Markedsføring\1 Profil\1 Logo\VardeHartmark\varde-hartmark-watermark-hvit_1280x1410.png">
            <a:extLst>
              <a:ext uri="{FF2B5EF4-FFF2-40B4-BE49-F238E27FC236}">
                <a16:creationId xmlns:a16="http://schemas.microsoft.com/office/drawing/2014/main" id="{9EC4D0D0-8D9D-4E1E-8EDF-6B2EEA38B83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6" r="35265" b="1379"/>
          <a:stretch>
            <a:fillRect/>
          </a:stretch>
        </p:blipFill>
        <p:spPr bwMode="auto">
          <a:xfrm>
            <a:off x="8957370" y="12278129"/>
            <a:ext cx="203427" cy="567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4A842CE-9597-4F95-8E06-09B410935A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76135" y="12211898"/>
            <a:ext cx="327541" cy="6815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103" b="1" smtClean="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812F096E-B025-4668-AC77-2B7908B29FF1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5973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  <p:sldLayoutId id="2147483714" r:id="rId30"/>
    <p:sldLayoutId id="2147483715" r:id="rId31"/>
    <p:sldLayoutId id="2147483717" r:id="rId32"/>
    <p:sldLayoutId id="2147483718" r:id="rId33"/>
    <p:sldLayoutId id="2147483719" r:id="rId34"/>
    <p:sldLayoutId id="2147483720" r:id="rId35"/>
    <p:sldLayoutId id="2147483721" r:id="rId36"/>
    <p:sldLayoutId id="2147483722" r:id="rId37"/>
    <p:sldLayoutId id="2147483723" r:id="rId38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3465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5pPr>
      <a:lvl6pPr marL="360045"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6pPr>
      <a:lvl7pPr marL="720090"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7pPr>
      <a:lvl8pPr marL="1080135"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8pPr>
      <a:lvl9pPr marL="1440180" algn="l" rtl="0" fontAlgn="base">
        <a:lnSpc>
          <a:spcPct val="90000"/>
        </a:lnSpc>
        <a:spcBef>
          <a:spcPct val="0"/>
        </a:spcBef>
        <a:spcAft>
          <a:spcPct val="0"/>
        </a:spcAft>
        <a:defRPr sz="3465">
          <a:solidFill>
            <a:schemeClr val="tx1"/>
          </a:solidFill>
          <a:latin typeface="Century Gothic" panose="020B0502020202020204" pitchFamily="34" charset="0"/>
        </a:defRPr>
      </a:lvl9pPr>
    </p:titleStyle>
    <p:bodyStyle>
      <a:lvl1pPr marL="180023" indent="-180023" algn="l" rtl="0" fontAlgn="base">
        <a:lnSpc>
          <a:spcPct val="90000"/>
        </a:lnSpc>
        <a:spcBef>
          <a:spcPts val="788"/>
        </a:spcBef>
        <a:spcAft>
          <a:spcPct val="0"/>
        </a:spcAft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1pPr>
      <a:lvl2pPr marL="540068" indent="-180023" algn="l" rtl="0" fontAlgn="base">
        <a:lnSpc>
          <a:spcPct val="90000"/>
        </a:lnSpc>
        <a:spcBef>
          <a:spcPts val="394"/>
        </a:spcBef>
        <a:spcAft>
          <a:spcPct val="0"/>
        </a:spcAft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00113" indent="-180023" algn="l" rtl="0" fontAlgn="base">
        <a:lnSpc>
          <a:spcPct val="90000"/>
        </a:lnSpc>
        <a:spcBef>
          <a:spcPts val="394"/>
        </a:spcBef>
        <a:spcAft>
          <a:spcPct val="0"/>
        </a:spcAft>
        <a:buFont typeface="Arial" panose="020B0604020202020204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3pPr>
      <a:lvl4pPr marL="1260158" indent="-180023" algn="l" rtl="0" fontAlgn="base">
        <a:lnSpc>
          <a:spcPct val="90000"/>
        </a:lnSpc>
        <a:spcBef>
          <a:spcPts val="394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620203" indent="-180023" algn="l" rtl="0" fontAlgn="base">
        <a:lnSpc>
          <a:spcPct val="90000"/>
        </a:lnSpc>
        <a:spcBef>
          <a:spcPts val="394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98024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6pPr>
      <a:lvl7pPr marL="234029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7pPr>
      <a:lvl8pPr marL="2700338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8pPr>
      <a:lvl9pPr marL="3060383" indent="-180023" algn="l" defTabSz="720090" rtl="0" eaLnBrk="1" latinLnBrk="0" hangingPunct="1">
        <a:lnSpc>
          <a:spcPct val="90000"/>
        </a:lnSpc>
        <a:spcBef>
          <a:spcPts val="394"/>
        </a:spcBef>
        <a:buFont typeface="Arial" panose="020B0604020202020204" pitchFamily="34" charset="0"/>
        <a:buChar char="•"/>
        <a:defRPr sz="141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1pPr>
      <a:lvl2pPr marL="36004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2pPr>
      <a:lvl3pPr marL="72009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3pPr>
      <a:lvl4pPr marL="108013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4pPr>
      <a:lvl5pPr marL="144018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5pPr>
      <a:lvl6pPr marL="180022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6pPr>
      <a:lvl7pPr marL="216027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7pPr>
      <a:lvl8pPr marL="2520315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8pPr>
      <a:lvl9pPr marL="2880360" algn="l" defTabSz="720090" rtl="0" eaLnBrk="1" latinLnBrk="0" hangingPunct="1">
        <a:defRPr sz="141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39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79.xml"/><Relationship Id="rId6" Type="http://schemas.openxmlformats.org/officeDocument/2006/relationships/hyperlink" Target="https://www.digiaks.no/aks/" TargetMode="Externa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5553D66-3D81-4ACD-AE24-8F7F84A13B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73188" y="14493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5553D66-3D81-4ACD-AE24-8F7F84A13B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73188" y="14493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kstSylinder 4">
            <a:extLst>
              <a:ext uri="{FF2B5EF4-FFF2-40B4-BE49-F238E27FC236}">
                <a16:creationId xmlns:a16="http://schemas.microsoft.com/office/drawing/2014/main" id="{52DCDF8E-3403-443C-B2C6-28253762D59D}"/>
              </a:ext>
            </a:extLst>
          </p:cNvPr>
          <p:cNvSpPr txBox="1"/>
          <p:nvPr/>
        </p:nvSpPr>
        <p:spPr>
          <a:xfrm>
            <a:off x="297541" y="667731"/>
            <a:ext cx="913582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5400" b="1" i="0" u="none" strike="noStrike" kern="1200" cap="none" spc="0" normalizeH="0" baseline="0" noProof="0" dirty="0">
                <a:ln>
                  <a:noFill/>
                </a:ln>
                <a:solidFill>
                  <a:srgbClr val="FE8173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</a:rPr>
              <a:t>BRUKERUNDERSØKELSE I AKS 2023/2024</a:t>
            </a: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D8FD9B0-D0C6-483B-A242-EA976250D392}"/>
              </a:ext>
            </a:extLst>
          </p:cNvPr>
          <p:cNvSpPr/>
          <p:nvPr/>
        </p:nvSpPr>
        <p:spPr>
          <a:xfrm>
            <a:off x="0" y="2968382"/>
            <a:ext cx="9601200" cy="3319444"/>
          </a:xfrm>
          <a:prstGeom prst="rect">
            <a:avLst/>
          </a:prstGeom>
          <a:solidFill>
            <a:srgbClr val="2927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AB0A35AF-A0AE-4092-ACF0-7C2845F6B5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109" y="1484240"/>
            <a:ext cx="1329059" cy="1257393"/>
          </a:xfrm>
          <a:prstGeom prst="rect">
            <a:avLst/>
          </a:prstGeom>
        </p:spPr>
      </p:pic>
      <p:sp>
        <p:nvSpPr>
          <p:cNvPr id="20" name="Rektangel 19">
            <a:extLst>
              <a:ext uri="{FF2B5EF4-FFF2-40B4-BE49-F238E27FC236}">
                <a16:creationId xmlns:a16="http://schemas.microsoft.com/office/drawing/2014/main" id="{6F70074B-F4BA-417E-8F7C-95F73F8773CD}"/>
              </a:ext>
            </a:extLst>
          </p:cNvPr>
          <p:cNvSpPr/>
          <p:nvPr/>
        </p:nvSpPr>
        <p:spPr>
          <a:xfrm>
            <a:off x="297542" y="3505376"/>
            <a:ext cx="900611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</a:rPr>
              <a:t>Alle foresatte med barn i 1.-4. trinn </a:t>
            </a:r>
            <a:r>
              <a:rPr lang="nb-NO" sz="3600" dirty="0">
                <a:solidFill>
                  <a:prstClr val="white"/>
                </a:solidFill>
                <a:latin typeface="Oslo Sans Office" panose="02000000000000000000" pitchFamily="2" charset="0"/>
              </a:rPr>
              <a:t>(</a:t>
            </a: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</a:rPr>
              <a:t>inkludert de som ikke benytter AKS), samt foresatte med barn i 5.-7. trinn som benytter seg av AKS oppfordres til å delta. </a:t>
            </a:r>
            <a:endParaRPr kumimoji="0" lang="nb-NO" sz="3200" b="0" i="0" u="none" strike="noStrike" kern="1200" cap="none" spc="0" normalizeH="0" baseline="0" noProof="0" dirty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19" name="Ellipse 18">
            <a:extLst>
              <a:ext uri="{FF2B5EF4-FFF2-40B4-BE49-F238E27FC236}">
                <a16:creationId xmlns:a16="http://schemas.microsoft.com/office/drawing/2014/main" id="{404C241A-D5E6-49CC-AC66-04BC73E33F7A}"/>
              </a:ext>
            </a:extLst>
          </p:cNvPr>
          <p:cNvSpPr/>
          <p:nvPr/>
        </p:nvSpPr>
        <p:spPr>
          <a:xfrm>
            <a:off x="6300248" y="6011556"/>
            <a:ext cx="3003410" cy="3003410"/>
          </a:xfrm>
          <a:prstGeom prst="ellipse">
            <a:avLst/>
          </a:prstGeom>
          <a:solidFill>
            <a:srgbClr val="FE8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200" dirty="0">
                <a:solidFill>
                  <a:srgbClr val="292757"/>
                </a:solidFill>
                <a:latin typeface="Oslo Sans Office" panose="02000000000000000000" pitchFamily="2" charset="0"/>
              </a:rPr>
              <a:t>TORSDAG</a:t>
            </a:r>
            <a:r>
              <a:rPr kumimoji="0" lang="nb-NO" sz="2200" b="0" i="0" u="none" strike="noStrike" kern="1200" cap="none" spc="0" normalizeH="0" baseline="0" noProof="0" dirty="0">
                <a:ln>
                  <a:noFill/>
                </a:ln>
                <a:solidFill>
                  <a:srgbClr val="292757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</a:rPr>
              <a:t>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200" dirty="0">
                <a:solidFill>
                  <a:srgbClr val="292757"/>
                </a:solidFill>
                <a:latin typeface="Oslo Sans Office" panose="02000000000000000000" pitchFamily="2" charset="0"/>
              </a:rPr>
              <a:t>23. novemb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200" dirty="0">
                <a:solidFill>
                  <a:srgbClr val="292757"/>
                </a:solidFill>
                <a:latin typeface="Oslo Sans Office" panose="02000000000000000000" pitchFamily="2" charset="0"/>
              </a:rPr>
              <a:t> 2023</a:t>
            </a:r>
            <a:endParaRPr kumimoji="0" lang="nb-NO" sz="2200" b="0" i="0" u="none" strike="noStrike" kern="1200" cap="none" spc="0" normalizeH="0" baseline="0" noProof="0" dirty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 panose="02000000000000000000" pitchFamily="2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200" b="0" i="0" u="none" strike="noStrike" kern="1200" cap="none" spc="0" normalizeH="0" baseline="0" noProof="0" dirty="0">
                <a:ln>
                  <a:noFill/>
                </a:ln>
                <a:solidFill>
                  <a:srgbClr val="292757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</a:rPr>
              <a:t>-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200" dirty="0">
                <a:solidFill>
                  <a:srgbClr val="292757"/>
                </a:solidFill>
                <a:latin typeface="Oslo Sans Office" panose="02000000000000000000" pitchFamily="2" charset="0"/>
              </a:rPr>
              <a:t>ONSDAG</a:t>
            </a:r>
            <a:endParaRPr kumimoji="0" lang="nb-NO" sz="2200" b="0" i="0" u="none" strike="noStrike" kern="1200" cap="none" spc="0" normalizeH="0" baseline="0" noProof="0" dirty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 panose="02000000000000000000" pitchFamily="2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200" dirty="0">
                <a:solidFill>
                  <a:srgbClr val="292757"/>
                </a:solidFill>
                <a:latin typeface="Oslo Sans Office" panose="02000000000000000000" pitchFamily="2" charset="0"/>
              </a:rPr>
              <a:t>6. desemb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200" dirty="0">
                <a:solidFill>
                  <a:srgbClr val="292757"/>
                </a:solidFill>
                <a:latin typeface="Oslo Sans Office" panose="02000000000000000000" pitchFamily="2" charset="0"/>
              </a:rPr>
              <a:t>2023</a:t>
            </a:r>
            <a:endParaRPr kumimoji="0" lang="nb-NO" sz="2200" b="0" i="0" u="none" strike="noStrike" kern="1200" cap="none" spc="0" normalizeH="0" baseline="0" noProof="0" dirty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 panose="02000000000000000000" pitchFamily="2" charset="0"/>
              <a:ea typeface="+mn-ea"/>
              <a:cs typeface="+mn-cs"/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5168A885-1C88-4604-AE8B-5E08021B688C}"/>
              </a:ext>
            </a:extLst>
          </p:cNvPr>
          <p:cNvSpPr/>
          <p:nvPr/>
        </p:nvSpPr>
        <p:spPr>
          <a:xfrm>
            <a:off x="297542" y="6392066"/>
            <a:ext cx="578067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292757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</a:rPr>
              <a:t>Lenken til undersøkelsen finner du på: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0" i="0" u="none" strike="noStrike" kern="1200" cap="none" spc="0" normalizeH="0" baseline="0" noProof="0" dirty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 panose="02000000000000000000" pitchFamily="2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292757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digiaks.no/aks/</a:t>
            </a:r>
            <a:endParaRPr kumimoji="0" lang="nb-NO" sz="2800" b="1" i="0" u="none" strike="noStrike" kern="1200" cap="none" spc="0" normalizeH="0" baseline="0" noProof="0" dirty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 panose="02000000000000000000" pitchFamily="2" charset="0"/>
              <a:ea typeface="+mn-ea"/>
              <a:cs typeface="+mn-cs"/>
            </a:endParaRPr>
          </a:p>
        </p:txBody>
      </p:sp>
      <p:pic>
        <p:nvPicPr>
          <p:cNvPr id="18" name="Bilde 17">
            <a:extLst>
              <a:ext uri="{FF2B5EF4-FFF2-40B4-BE49-F238E27FC236}">
                <a16:creationId xmlns:a16="http://schemas.microsoft.com/office/drawing/2014/main" id="{E132E69A-8128-47C6-AE8E-0622B339950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075" y="11962258"/>
            <a:ext cx="1329059" cy="730983"/>
          </a:xfrm>
          <a:prstGeom prst="rect">
            <a:avLst/>
          </a:prstGeom>
        </p:spPr>
      </p:pic>
      <p:sp>
        <p:nvSpPr>
          <p:cNvPr id="21" name="Rektangel: avrundede hjørner 20">
            <a:extLst>
              <a:ext uri="{FF2B5EF4-FFF2-40B4-BE49-F238E27FC236}">
                <a16:creationId xmlns:a16="http://schemas.microsoft.com/office/drawing/2014/main" id="{73FF133A-2406-4C5D-B7D1-87DF355FD495}"/>
              </a:ext>
            </a:extLst>
          </p:cNvPr>
          <p:cNvSpPr/>
          <p:nvPr/>
        </p:nvSpPr>
        <p:spPr>
          <a:xfrm>
            <a:off x="2739096" y="9163611"/>
            <a:ext cx="5256000" cy="3003410"/>
          </a:xfrm>
          <a:prstGeom prst="roundRect">
            <a:avLst/>
          </a:prstGeom>
          <a:solidFill>
            <a:srgbClr val="F6ED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TekstSylinder 22">
            <a:extLst>
              <a:ext uri="{FF2B5EF4-FFF2-40B4-BE49-F238E27FC236}">
                <a16:creationId xmlns:a16="http://schemas.microsoft.com/office/drawing/2014/main" id="{5E04DCA2-66F7-4C09-B3E9-118835A36D6C}"/>
              </a:ext>
            </a:extLst>
          </p:cNvPr>
          <p:cNvSpPr txBox="1"/>
          <p:nvPr/>
        </p:nvSpPr>
        <p:spPr>
          <a:xfrm>
            <a:off x="2871314" y="9458651"/>
            <a:ext cx="5058465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292757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</a:rPr>
              <a:t>DIN MENING ER VIKTIG!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100" b="1" i="0" u="none" strike="noStrike" kern="1200" cap="none" spc="0" normalizeH="0" baseline="0" noProof="0" dirty="0">
              <a:ln>
                <a:noFill/>
              </a:ln>
              <a:solidFill>
                <a:srgbClr val="292757"/>
              </a:solidFill>
              <a:effectLst/>
              <a:uLnTx/>
              <a:uFillTx/>
              <a:latin typeface="Oslo Sans Office" panose="02000000000000000000" pitchFamily="2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200" b="0" i="0" u="none" strike="noStrike" kern="1200" cap="none" spc="0" normalizeH="0" baseline="0" noProof="0" dirty="0">
                <a:ln>
                  <a:noFill/>
                </a:ln>
                <a:solidFill>
                  <a:srgbClr val="292757"/>
                </a:solidFill>
                <a:effectLst/>
                <a:uLnTx/>
                <a:uFillTx/>
                <a:latin typeface="Oslo Sans Office" panose="02000000000000000000" pitchFamily="2" charset="0"/>
                <a:ea typeface="+mn-ea"/>
                <a:cs typeface="+mn-cs"/>
              </a:rPr>
              <a:t>Visste du at vi på bakgrunn av tidligere tilbakemeldinger har utviklet et digitalt opplæringsprogram som skal sørge for et helhetlig kompetanseløft blant medarbeidere i AKS</a:t>
            </a:r>
            <a:r>
              <a:rPr lang="nb-NO" sz="2200" dirty="0">
                <a:solidFill>
                  <a:srgbClr val="292757"/>
                </a:solidFill>
                <a:latin typeface="Oslo Sans Office" panose="02000000000000000000" pitchFamily="2" charset="0"/>
              </a:rPr>
              <a:t>? </a:t>
            </a:r>
            <a:endParaRPr kumimoji="0" lang="nb-NO" sz="2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Oslo Sans Office" panose="02000000000000000000" pitchFamily="2" charset="0"/>
              <a:ea typeface="+mn-ea"/>
              <a:cs typeface="+mn-cs"/>
            </a:endParaRPr>
          </a:p>
        </p:txBody>
      </p:sp>
      <p:pic>
        <p:nvPicPr>
          <p:cNvPr id="24" name="Bilde 23">
            <a:extLst>
              <a:ext uri="{FF2B5EF4-FFF2-40B4-BE49-F238E27FC236}">
                <a16:creationId xmlns:a16="http://schemas.microsoft.com/office/drawing/2014/main" id="{E3A0B664-C6DF-4ACF-B5E4-24CC50B72A5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066" y="9220100"/>
            <a:ext cx="1697664" cy="337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9900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KHEiGTZ6nwWQNusDO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KHEiGTZ6nwWQNusDO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KHEiGTZ6nwWQNusDOw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KHEiGTZ6nwWQNusDOw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xKHEiGTZ6nwWQNusDOw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TWJ3H00G1QihQifTYK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TWJ3H00G1QihQifTYK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7vxBT.Rk2_Z3QxTnaCz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yC_8a0REawA2DkAZQnpg"/>
</p:tagLst>
</file>

<file path=ppt/theme/theme1.xml><?xml version="1.0" encoding="utf-8"?>
<a:theme xmlns:a="http://schemas.openxmlformats.org/drawingml/2006/main" name="Hvit uten kapittel">
  <a:themeElements>
    <a:clrScheme name="UDE">
      <a:dk1>
        <a:srgbClr val="2C2C2C"/>
      </a:dk1>
      <a:lt1>
        <a:sysClr val="window" lastClr="FFFFFF"/>
      </a:lt1>
      <a:dk2>
        <a:srgbClr val="2A2859"/>
      </a:dk2>
      <a:lt2>
        <a:srgbClr val="FF8274"/>
      </a:lt2>
      <a:accent1>
        <a:srgbClr val="B3F5FF"/>
      </a:accent1>
      <a:accent2>
        <a:srgbClr val="F9C66B"/>
      </a:accent2>
      <a:accent3>
        <a:srgbClr val="F8F0DD"/>
      </a:accent3>
      <a:accent4>
        <a:srgbClr val="034B45"/>
      </a:accent4>
      <a:accent5>
        <a:srgbClr val="C7F6C9"/>
      </a:accent5>
      <a:accent6>
        <a:srgbClr val="D0BFAE"/>
      </a:accent6>
      <a:hlink>
        <a:srgbClr val="0563C1"/>
      </a:hlink>
      <a:folHlink>
        <a:srgbClr val="954F72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>
        <a:normAutofit/>
      </a:bodyPr>
      <a:lstStyle>
        <a:defPPr algn="ctr">
          <a:defRPr sz="1400" dirty="0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8562daf3-8570-4da7-951e-1cfcc27e2f01">
      <UserInfo>
        <DisplayName>Stella Heieren</DisplayName>
        <AccountId>72</AccountId>
        <AccountType/>
      </UserInfo>
    </SharedWithUsers>
    <_activity xmlns="4e5d9a98-3953-458f-aaaf-e57cfd2fc28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A1565E49EFB8342BBEBF664B2165DD2" ma:contentTypeVersion="16" ma:contentTypeDescription="Opprett et nytt dokument." ma:contentTypeScope="" ma:versionID="c99d0359306bc8e963f06debd80c6e5a">
  <xsd:schema xmlns:xsd="http://www.w3.org/2001/XMLSchema" xmlns:xs="http://www.w3.org/2001/XMLSchema" xmlns:p="http://schemas.microsoft.com/office/2006/metadata/properties" xmlns:ns3="8562daf3-8570-4da7-951e-1cfcc27e2f01" xmlns:ns4="4e5d9a98-3953-458f-aaaf-e57cfd2fc284" targetNamespace="http://schemas.microsoft.com/office/2006/metadata/properties" ma:root="true" ma:fieldsID="ce891cd72d32ac7723388c919e3dd3fd" ns3:_="" ns4:_="">
    <xsd:import namespace="8562daf3-8570-4da7-951e-1cfcc27e2f01"/>
    <xsd:import namespace="4e5d9a98-3953-458f-aaaf-e57cfd2fc284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Location" minOccurs="0"/>
                <xsd:element ref="ns4:_activity" minOccurs="0"/>
                <xsd:element ref="ns4:MediaServiceObjectDetectorVersions" minOccurs="0"/>
                <xsd:element ref="ns4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62daf3-8570-4da7-951e-1cfcc27e2f0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ingsdetaljer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for deling av tips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5d9a98-3953-458f-aaaf-e57cfd2fc28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_activity" ma:index="21" nillable="true" ma:displayName="_activity" ma:hidden="true" ma:internalName="_activity">
      <xsd:simpleType>
        <xsd:restriction base="dms:Note"/>
      </xsd:simpleType>
    </xsd:element>
    <xsd:element name="MediaServiceObjectDetectorVersions" ma:index="22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3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90ADF88-347B-461F-AE6D-A482944EDF17}">
  <ds:schemaRefs>
    <ds:schemaRef ds:uri="http://schemas.microsoft.com/office/2006/metadata/properties"/>
    <ds:schemaRef ds:uri="8562daf3-8570-4da7-951e-1cfcc27e2f01"/>
    <ds:schemaRef ds:uri="http://schemas.microsoft.com/office/infopath/2007/PartnerControls"/>
    <ds:schemaRef ds:uri="http://schemas.microsoft.com/office/2006/documentManagement/types"/>
    <ds:schemaRef ds:uri="http://purl.org/dc/terms/"/>
    <ds:schemaRef ds:uri="http://purl.org/dc/elements/1.1/"/>
    <ds:schemaRef ds:uri="http://purl.org/dc/dcmitype/"/>
    <ds:schemaRef ds:uri="http://www.w3.org/XML/1998/namespace"/>
    <ds:schemaRef ds:uri="http://schemas.openxmlformats.org/package/2006/metadata/core-properties"/>
    <ds:schemaRef ds:uri="4e5d9a98-3953-458f-aaaf-e57cfd2fc284"/>
  </ds:schemaRefs>
</ds:datastoreItem>
</file>

<file path=customXml/itemProps2.xml><?xml version="1.0" encoding="utf-8"?>
<ds:datastoreItem xmlns:ds="http://schemas.openxmlformats.org/officeDocument/2006/customXml" ds:itemID="{637C106F-D1B7-439C-9176-334F395A2A3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E5F8EB-36C5-4328-9285-5529FB0E1A2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62daf3-8570-4da7-951e-1cfcc27e2f01"/>
    <ds:schemaRef ds:uri="4e5d9a98-3953-458f-aaaf-e57cfd2fc28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102</Words>
  <Application>Microsoft Office PowerPoint</Application>
  <PresentationFormat>A3 (297 x 420 mm)</PresentationFormat>
  <Paragraphs>15</Paragraphs>
  <Slides>1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8" baseType="lpstr">
      <vt:lpstr>Arial</vt:lpstr>
      <vt:lpstr>Calibri</vt:lpstr>
      <vt:lpstr>Century Gothic</vt:lpstr>
      <vt:lpstr>Oslo Sans Office</vt:lpstr>
      <vt:lpstr>Wingdings</vt:lpstr>
      <vt:lpstr>Hvit uten kapittel</vt:lpstr>
      <vt:lpstr>think-cell Slide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Marie Mejlænder</dc:creator>
  <cp:lastModifiedBy>Hans Sigurd Gundersen</cp:lastModifiedBy>
  <cp:revision>2</cp:revision>
  <dcterms:created xsi:type="dcterms:W3CDTF">2019-10-28T11:28:14Z</dcterms:created>
  <dcterms:modified xsi:type="dcterms:W3CDTF">2023-11-15T08:1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A1565E49EFB8342BBEBF664B2165DD2</vt:lpwstr>
  </property>
</Properties>
</file>